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media/image3.svg" ContentType="image/svg+xml"/>
  <Override PartName="/ppt/media/image5.svg" ContentType="image/svg+xml"/>
  <Override PartName="/ppt/media/image7.svg" ContentType="image/svg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3"/>
    <p:sldId id="265" r:id="rId4"/>
    <p:sldId id="270" r:id="rId5"/>
    <p:sldId id="259" r:id="rId6"/>
    <p:sldId id="260" r:id="rId7"/>
    <p:sldId id="261" r:id="rId8"/>
    <p:sldId id="264" r:id="rId9"/>
    <p:sldId id="266" r:id="rId10"/>
    <p:sldId id="263" r:id="rId1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782" y="67"/>
      </p:cViewPr>
      <p:guideLst>
        <p:guide orient="horz" pos="2160"/>
        <p:guide pos="387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4" Type="http://schemas.openxmlformats.org/officeDocument/2006/relationships/tableStyles" Target="tableStyles.xml"/><Relationship Id="rId13" Type="http://schemas.openxmlformats.org/officeDocument/2006/relationships/viewProps" Target="viewProps.xml"/><Relationship Id="rId12" Type="http://schemas.openxmlformats.org/officeDocument/2006/relationships/presProps" Target="presProps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0D8112-5610-434E-ABFE-35B1C70347EA}" type="doc">
      <dgm:prSet loTypeId="urn:microsoft.com/office/officeart/2005/8/layout/hList1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n-IN"/>
        </a:p>
      </dgm:t>
    </dgm:pt>
    <dgm:pt modelId="{BE5EC5B7-8432-42AC-9C59-260D21799578}">
      <dgm:prSet/>
      <dgm:spPr/>
      <dgm:t>
        <a:bodyPr/>
        <a:lstStyle/>
        <a:p>
          <a:pPr rtl="0"/>
          <a:r>
            <a:rPr lang="en-IN" b="1" dirty="0"/>
            <a:t>Completed Activities:</a:t>
          </a:r>
        </a:p>
      </dgm:t>
    </dgm:pt>
    <dgm:pt modelId="{4C20CD43-0D9D-42E9-AE2C-6F8EE2698EDE}" cxnId="{3C89164D-83B5-4B9E-92E8-6567EB63940F}" type="parTrans">
      <dgm:prSet/>
      <dgm:spPr/>
      <dgm:t>
        <a:bodyPr/>
        <a:lstStyle/>
        <a:p>
          <a:endParaRPr lang="en-IN"/>
        </a:p>
      </dgm:t>
    </dgm:pt>
    <dgm:pt modelId="{D1415575-960C-4AB8-A51E-636F605C7A22}" cxnId="{3C89164D-83B5-4B9E-92E8-6567EB63940F}" type="sibTrans">
      <dgm:prSet/>
      <dgm:spPr/>
      <dgm:t>
        <a:bodyPr/>
        <a:lstStyle/>
        <a:p>
          <a:endParaRPr lang="en-IN"/>
        </a:p>
      </dgm:t>
    </dgm:pt>
    <dgm:pt modelId="{2E243508-4CF6-4278-9C72-889EBFD231E2}">
      <dgm:prSet phldr="0" custT="0"/>
      <dgm:spPr/>
      <dgm:t>
        <a:bodyPr vert="horz" wrap="square"/>
        <a:lstStyle/>
        <a:p>
          <a:pPr rtl="0"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en-US" b="1"/>
            <a:t>Time Off Management</a:t>
          </a:r>
          <a:r>
            <a:rPr lang="en-US"/>
            <a:t>: Worked on the development and refinement of time-off policies and processes.</a:t>
          </a:r>
          <a:endParaRPr lang="en-IN" dirty="0"/>
        </a:p>
      </dgm:t>
    </dgm:pt>
    <dgm:pt modelId="{DD8EA094-8AAD-42A2-BBAC-F64FB587FCC8}" cxnId="{C5428F54-DAC8-4F4F-B578-4EBE96F49CD5}" type="parTrans">
      <dgm:prSet/>
      <dgm:spPr/>
      <dgm:t>
        <a:bodyPr/>
        <a:lstStyle/>
        <a:p>
          <a:endParaRPr lang="en-US"/>
        </a:p>
      </dgm:t>
    </dgm:pt>
    <dgm:pt modelId="{9175FFAB-8BF0-466A-BED5-C6ACA0E97DBF}" cxnId="{C5428F54-DAC8-4F4F-B578-4EBE96F49CD5}" type="sibTrans">
      <dgm:prSet/>
      <dgm:spPr/>
      <dgm:t>
        <a:bodyPr/>
        <a:lstStyle/>
        <a:p>
          <a:endParaRPr lang="en-US"/>
        </a:p>
      </dgm:t>
    </dgm:pt>
    <dgm:pt modelId="{A7F1AB81-E0DA-425A-8338-679F93B9803C}">
      <dgm:prSet/>
      <dgm:spPr/>
      <dgm:t>
        <a:bodyPr/>
        <a:lstStyle/>
        <a:p>
          <a:pPr rtl="0"/>
          <a:r>
            <a:rPr lang="en-IN" b="1" dirty="0"/>
            <a:t>Current Activity:</a:t>
          </a:r>
        </a:p>
      </dgm:t>
    </dgm:pt>
    <dgm:pt modelId="{3927835E-D47D-4E77-993D-2CA0F6A31ED0}" cxnId="{E9C97E04-BD59-4D01-8AD3-4C9E278D4712}" type="parTrans">
      <dgm:prSet/>
      <dgm:spPr/>
      <dgm:t>
        <a:bodyPr/>
        <a:lstStyle/>
        <a:p>
          <a:endParaRPr lang="en-IN"/>
        </a:p>
      </dgm:t>
    </dgm:pt>
    <dgm:pt modelId="{5AFBFC67-AA22-40C2-8E87-C46787BD296A}" cxnId="{E9C97E04-BD59-4D01-8AD3-4C9E278D4712}" type="sibTrans">
      <dgm:prSet/>
      <dgm:spPr/>
      <dgm:t>
        <a:bodyPr/>
        <a:lstStyle/>
        <a:p>
          <a:endParaRPr lang="en-IN"/>
        </a:p>
      </dgm:t>
    </dgm:pt>
    <dgm:pt modelId="{EB378AAF-0E94-4788-88DC-355C95011AB2}">
      <dgm:prSet/>
      <dgm:spPr/>
      <dgm:t>
        <a:bodyPr/>
        <a:lstStyle/>
        <a:p>
          <a:pPr rtl="0"/>
          <a:r>
            <a:rPr lang="en-US" b="1" dirty="0"/>
            <a:t>Additional Requirements:</a:t>
          </a:r>
          <a:r>
            <a:rPr lang="en-US" dirty="0"/>
            <a:t> Successfully addressed and completed additional requirements discussed in the recent meeting, ensuring timely resolution of outstanding items</a:t>
          </a:r>
          <a:r>
            <a:rPr lang="en-IN" dirty="0"/>
            <a:t>.</a:t>
          </a:r>
        </a:p>
      </dgm:t>
    </dgm:pt>
    <dgm:pt modelId="{B26B608B-C4FA-4B8E-993D-B84EEFF730C5}" cxnId="{A4749044-93CA-4BAE-92E0-04702880803D}" type="parTrans">
      <dgm:prSet/>
      <dgm:spPr/>
      <dgm:t>
        <a:bodyPr/>
        <a:lstStyle/>
        <a:p>
          <a:endParaRPr lang="en-IN"/>
        </a:p>
      </dgm:t>
    </dgm:pt>
    <dgm:pt modelId="{36B7AA88-B5E1-49C2-B431-987212C91249}" cxnId="{A4749044-93CA-4BAE-92E0-04702880803D}" type="sibTrans">
      <dgm:prSet/>
      <dgm:spPr/>
      <dgm:t>
        <a:bodyPr/>
        <a:lstStyle/>
        <a:p>
          <a:endParaRPr lang="en-IN"/>
        </a:p>
      </dgm:t>
    </dgm:pt>
    <dgm:pt modelId="{664F1210-696F-44A5-95B4-E9620C9E94F3}">
      <dgm:prSet/>
      <dgm:spPr/>
      <dgm:t>
        <a:bodyPr/>
        <a:lstStyle/>
        <a:p>
          <a:pPr rtl="0"/>
          <a:r>
            <a:rPr lang="en-US" b="1"/>
            <a:t>Planned Activities for Next Week:</a:t>
          </a:r>
          <a:endParaRPr lang="en-IN"/>
        </a:p>
      </dgm:t>
    </dgm:pt>
    <dgm:pt modelId="{411DB2CC-EE60-4C30-96F2-76A8C7F7E39C}" cxnId="{2262FBE4-4F71-4E53-8364-014002197B85}" type="parTrans">
      <dgm:prSet/>
      <dgm:spPr/>
      <dgm:t>
        <a:bodyPr/>
        <a:lstStyle/>
        <a:p>
          <a:endParaRPr lang="en-IN"/>
        </a:p>
      </dgm:t>
    </dgm:pt>
    <dgm:pt modelId="{E994487B-7E15-4477-8814-F020B527B3E6}" cxnId="{2262FBE4-4F71-4E53-8364-014002197B85}" type="sibTrans">
      <dgm:prSet/>
      <dgm:spPr/>
      <dgm:t>
        <a:bodyPr/>
        <a:lstStyle/>
        <a:p>
          <a:endParaRPr lang="en-IN"/>
        </a:p>
      </dgm:t>
    </dgm:pt>
    <dgm:pt modelId="{FBDEB061-F136-4A81-88FB-3AC58FC78728}">
      <dgm:prSet/>
      <dgm:spPr/>
      <dgm:t>
        <a:bodyPr/>
        <a:lstStyle/>
        <a:p>
          <a:pPr rtl="0"/>
          <a:r>
            <a:rPr lang="en-US" b="1" dirty="0"/>
            <a:t>Pay Structure:</a:t>
          </a:r>
          <a:r>
            <a:rPr lang="en-US" dirty="0"/>
            <a:t> Develop and finalize the company’s pay structure, ensuring alignment with compensation policies.</a:t>
          </a:r>
          <a:endParaRPr lang="en-IN" dirty="0"/>
        </a:p>
      </dgm:t>
    </dgm:pt>
    <dgm:pt modelId="{830AD44E-E144-4A97-9071-FC8916E4D6BB}" cxnId="{477E4FAB-A461-4DF1-A4EE-91B3C882FA98}" type="parTrans">
      <dgm:prSet/>
      <dgm:spPr/>
      <dgm:t>
        <a:bodyPr/>
        <a:lstStyle/>
        <a:p>
          <a:endParaRPr lang="en-IN"/>
        </a:p>
      </dgm:t>
    </dgm:pt>
    <dgm:pt modelId="{BE9C1652-FA30-4E95-B851-E6CF44707D0D}" cxnId="{477E4FAB-A461-4DF1-A4EE-91B3C882FA98}" type="sibTrans">
      <dgm:prSet/>
      <dgm:spPr/>
      <dgm:t>
        <a:bodyPr/>
        <a:lstStyle/>
        <a:p>
          <a:endParaRPr lang="en-IN"/>
        </a:p>
      </dgm:t>
    </dgm:pt>
    <dgm:pt modelId="{7FF83931-D52D-46DE-8A1E-900B230C3265}">
      <dgm:prSet/>
      <dgm:spPr/>
      <dgm:t>
        <a:bodyPr/>
        <a:lstStyle/>
        <a:p>
          <a:r>
            <a:rPr lang="en-US" b="1"/>
            <a:t>Company Structure Definition:</a:t>
          </a:r>
          <a:r>
            <a:rPr lang="en-US"/>
            <a:t> Completed the definition of the company’s organizational structure, ensuring alignment with business goals and operational needs.</a:t>
          </a:r>
          <a:endParaRPr lang="en-US" dirty="0"/>
        </a:p>
      </dgm:t>
    </dgm:pt>
    <dgm:pt modelId="{BF4CB17E-3895-4731-8AF3-010355D8FB64}" cxnId="{72FFC1C5-1946-4132-8DDD-2A8C4FAA0850}" type="parTrans">
      <dgm:prSet/>
      <dgm:spPr/>
      <dgm:t>
        <a:bodyPr/>
        <a:lstStyle/>
        <a:p>
          <a:endParaRPr lang="en-US"/>
        </a:p>
      </dgm:t>
    </dgm:pt>
    <dgm:pt modelId="{21DCB46C-33FE-4068-8593-56A2EEF64E91}" cxnId="{72FFC1C5-1946-4132-8DDD-2A8C4FAA0850}" type="sibTrans">
      <dgm:prSet/>
      <dgm:spPr/>
      <dgm:t>
        <a:bodyPr/>
        <a:lstStyle/>
        <a:p>
          <a:endParaRPr lang="en-US"/>
        </a:p>
      </dgm:t>
    </dgm:pt>
    <dgm:pt modelId="{C93FF3F6-D110-4106-945B-9C00F51F27AE}">
      <dgm:prSet/>
      <dgm:spPr/>
      <dgm:t>
        <a:bodyPr/>
        <a:lstStyle/>
        <a:p>
          <a:r>
            <a:rPr lang="en-US" b="1" dirty="0"/>
            <a:t>Business Rules Definition:</a:t>
          </a:r>
          <a:r>
            <a:rPr lang="en-US" dirty="0"/>
            <a:t> Defined and documented key business rules to support operational workflows and ensure compliance with organizational standards.</a:t>
          </a:r>
        </a:p>
      </dgm:t>
    </dgm:pt>
    <dgm:pt modelId="{7E085B99-A2B0-485B-9F12-060255F60176}" cxnId="{8684D1D8-0E00-4A39-AF1C-D624EFC5117E}" type="parTrans">
      <dgm:prSet/>
      <dgm:spPr/>
      <dgm:t>
        <a:bodyPr/>
        <a:lstStyle/>
        <a:p>
          <a:endParaRPr lang="en-US"/>
        </a:p>
      </dgm:t>
    </dgm:pt>
    <dgm:pt modelId="{1560C205-CD43-4CDD-AE61-E741D1579B5C}" cxnId="{8684D1D8-0E00-4A39-AF1C-D624EFC5117E}" type="sibTrans">
      <dgm:prSet/>
      <dgm:spPr/>
      <dgm:t>
        <a:bodyPr/>
        <a:lstStyle/>
        <a:p>
          <a:endParaRPr lang="en-US"/>
        </a:p>
      </dgm:t>
    </dgm:pt>
    <dgm:pt modelId="{A661279F-D9BE-4C29-8AAD-FE8E4DCE1FCA}">
      <dgm:prSet/>
      <dgm:spPr/>
      <dgm:t>
        <a:bodyPr/>
        <a:lstStyle/>
        <a:p>
          <a:r>
            <a:rPr lang="en-US" b="1" dirty="0"/>
            <a:t>Position Upload:</a:t>
          </a:r>
          <a:r>
            <a:rPr lang="en-US" dirty="0"/>
            <a:t> Work on the upload of position data, ensuring correct mapping of roles to organizational structure.</a:t>
          </a:r>
        </a:p>
      </dgm:t>
    </dgm:pt>
    <dgm:pt modelId="{69E1F9BD-297F-4798-9C28-424AF5E81CC5}" cxnId="{DD780A0F-BD19-42B5-97E6-325F0B0B2C9C}" type="parTrans">
      <dgm:prSet/>
      <dgm:spPr/>
      <dgm:t>
        <a:bodyPr/>
        <a:lstStyle/>
        <a:p>
          <a:endParaRPr lang="en-US"/>
        </a:p>
      </dgm:t>
    </dgm:pt>
    <dgm:pt modelId="{596AFF97-A427-4397-BDFB-3A18F5EADB01}" cxnId="{DD780A0F-BD19-42B5-97E6-325F0B0B2C9C}" type="sibTrans">
      <dgm:prSet/>
      <dgm:spPr/>
      <dgm:t>
        <a:bodyPr/>
        <a:lstStyle/>
        <a:p>
          <a:endParaRPr lang="en-US"/>
        </a:p>
      </dgm:t>
    </dgm:pt>
    <dgm:pt modelId="{DC298778-927F-4DFA-93C4-D231D9E9BA71}">
      <dgm:prSet/>
      <dgm:spPr/>
      <dgm:t>
        <a:bodyPr/>
        <a:lstStyle/>
        <a:p>
          <a:r>
            <a:rPr lang="en-US" b="1" dirty="0"/>
            <a:t>Time Off Rule Development:</a:t>
          </a:r>
          <a:r>
            <a:rPr lang="en-US" dirty="0"/>
            <a:t> Continue refining and finalizing time-off rules to ensure consistency and compliance across the organization.</a:t>
          </a:r>
        </a:p>
      </dgm:t>
    </dgm:pt>
    <dgm:pt modelId="{FD8C734F-8A1E-4AE9-ABC6-EF427B5A20CB}" cxnId="{9A8E7016-8A61-4278-ACDB-39152C50B4DF}" type="parTrans">
      <dgm:prSet/>
      <dgm:spPr/>
      <dgm:t>
        <a:bodyPr/>
        <a:lstStyle/>
        <a:p>
          <a:endParaRPr lang="en-US"/>
        </a:p>
      </dgm:t>
    </dgm:pt>
    <dgm:pt modelId="{47771DCB-A519-4979-BC3B-A9D26069696E}" cxnId="{9A8E7016-8A61-4278-ACDB-39152C50B4DF}" type="sibTrans">
      <dgm:prSet/>
      <dgm:spPr/>
      <dgm:t>
        <a:bodyPr/>
        <a:lstStyle/>
        <a:p>
          <a:endParaRPr lang="en-US"/>
        </a:p>
      </dgm:t>
    </dgm:pt>
    <dgm:pt modelId="{4AAF1FCA-F50F-44B3-8ED7-902F46F0791E}">
      <dgm:prSet/>
      <dgm:spPr/>
      <dgm:t>
        <a:bodyPr/>
        <a:lstStyle/>
        <a:p>
          <a:pPr rtl="0"/>
          <a:r>
            <a:rPr lang="en-US" b="1" dirty="0"/>
            <a:t>Employee Data Upload:</a:t>
          </a:r>
          <a:r>
            <a:rPr lang="en-US" dirty="0"/>
            <a:t> Begin preparations for the employee data upload, ensuring accuracy and completeness of all relevant information.</a:t>
          </a:r>
          <a:endParaRPr lang="en-IN" dirty="0"/>
        </a:p>
      </dgm:t>
    </dgm:pt>
    <dgm:pt modelId="{ABF860D8-20A0-45CE-A488-77CDCEA259F3}" cxnId="{2AF8CE50-4FFA-4858-A3A5-9466B2B9B73B}" type="parTrans">
      <dgm:prSet/>
      <dgm:spPr/>
      <dgm:t>
        <a:bodyPr/>
        <a:lstStyle/>
        <a:p>
          <a:endParaRPr lang="en-US"/>
        </a:p>
      </dgm:t>
    </dgm:pt>
    <dgm:pt modelId="{C00FBB1A-B68B-4F38-A668-F666B588E55A}" cxnId="{2AF8CE50-4FFA-4858-A3A5-9466B2B9B73B}" type="sibTrans">
      <dgm:prSet/>
      <dgm:spPr/>
      <dgm:t>
        <a:bodyPr/>
        <a:lstStyle/>
        <a:p>
          <a:endParaRPr lang="en-US"/>
        </a:p>
      </dgm:t>
    </dgm:pt>
    <dgm:pt modelId="{C97A66A2-B73F-4BB5-A782-4CC1BD01BA0F}">
      <dgm:prSet/>
      <dgm:spPr/>
      <dgm:t>
        <a:bodyPr/>
        <a:lstStyle/>
        <a:p>
          <a:pPr rtl="0"/>
          <a:endParaRPr lang="en-IN" dirty="0"/>
        </a:p>
      </dgm:t>
    </dgm:pt>
    <dgm:pt modelId="{0E159A9B-6272-42A9-AE97-7D62AD897E3C}" cxnId="{3ACCEB06-F9D6-4632-A536-60B505DDFE4C}" type="parTrans">
      <dgm:prSet/>
      <dgm:spPr/>
      <dgm:t>
        <a:bodyPr/>
        <a:lstStyle/>
        <a:p>
          <a:endParaRPr lang="en-US"/>
        </a:p>
      </dgm:t>
    </dgm:pt>
    <dgm:pt modelId="{993069DB-CC0A-4A51-9359-CE0B6627F40B}" cxnId="{3ACCEB06-F9D6-4632-A536-60B505DDFE4C}" type="sibTrans">
      <dgm:prSet/>
      <dgm:spPr/>
      <dgm:t>
        <a:bodyPr/>
        <a:lstStyle/>
        <a:p>
          <a:endParaRPr lang="en-US"/>
        </a:p>
      </dgm:t>
    </dgm:pt>
    <dgm:pt modelId="{791C8AC6-87BD-4D7E-ADAC-8C955CE71E18}" type="pres">
      <dgm:prSet presAssocID="{FB0D8112-5610-434E-ABFE-35B1C70347EA}" presName="Name0" presStyleCnt="0">
        <dgm:presLayoutVars>
          <dgm:dir/>
          <dgm:animLvl val="lvl"/>
          <dgm:resizeHandles val="exact"/>
        </dgm:presLayoutVars>
      </dgm:prSet>
      <dgm:spPr/>
    </dgm:pt>
    <dgm:pt modelId="{E6F1D383-5271-41BA-B001-00D2F6155DC4}" type="pres">
      <dgm:prSet presAssocID="{BE5EC5B7-8432-42AC-9C59-260D21799578}" presName="composite" presStyleCnt="0"/>
      <dgm:spPr/>
    </dgm:pt>
    <dgm:pt modelId="{1F7198CC-6C29-40B2-B8E9-5D4DE4D51233}" type="pres">
      <dgm:prSet presAssocID="{BE5EC5B7-8432-42AC-9C59-260D2179957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C1C4A1CD-59D4-48FF-BE23-171399B6D7F9}" type="pres">
      <dgm:prSet presAssocID="{BE5EC5B7-8432-42AC-9C59-260D21799578}" presName="desTx" presStyleLbl="alignAccFollowNode1" presStyleIdx="0" presStyleCnt="3">
        <dgm:presLayoutVars>
          <dgm:bulletEnabled val="1"/>
        </dgm:presLayoutVars>
      </dgm:prSet>
      <dgm:spPr/>
    </dgm:pt>
    <dgm:pt modelId="{A7E435A9-06EB-44D4-BEA3-A6A1CEE83980}" type="pres">
      <dgm:prSet presAssocID="{D1415575-960C-4AB8-A51E-636F605C7A22}" presName="space" presStyleCnt="0"/>
      <dgm:spPr/>
    </dgm:pt>
    <dgm:pt modelId="{7529954F-E048-4C85-8C66-8C821301C4E8}" type="pres">
      <dgm:prSet presAssocID="{A7F1AB81-E0DA-425A-8338-679F93B9803C}" presName="composite" presStyleCnt="0"/>
      <dgm:spPr/>
    </dgm:pt>
    <dgm:pt modelId="{BE0187FE-C5E3-49A0-AC46-C2038B73A996}" type="pres">
      <dgm:prSet presAssocID="{A7F1AB81-E0DA-425A-8338-679F93B9803C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C7199FD-FABB-4912-87E2-32A0C344BE77}" type="pres">
      <dgm:prSet presAssocID="{A7F1AB81-E0DA-425A-8338-679F93B9803C}" presName="desTx" presStyleLbl="alignAccFollowNode1" presStyleIdx="1" presStyleCnt="3">
        <dgm:presLayoutVars>
          <dgm:bulletEnabled val="1"/>
        </dgm:presLayoutVars>
      </dgm:prSet>
      <dgm:spPr/>
    </dgm:pt>
    <dgm:pt modelId="{199F5F42-57AE-4A6D-9228-FB14E5087976}" type="pres">
      <dgm:prSet presAssocID="{5AFBFC67-AA22-40C2-8E87-C46787BD296A}" presName="space" presStyleCnt="0"/>
      <dgm:spPr/>
    </dgm:pt>
    <dgm:pt modelId="{4111E331-B788-49B7-A1DA-EE70823CDC59}" type="pres">
      <dgm:prSet presAssocID="{664F1210-696F-44A5-95B4-E9620C9E94F3}" presName="composite" presStyleCnt="0"/>
      <dgm:spPr/>
    </dgm:pt>
    <dgm:pt modelId="{908D13E4-3FE3-46A8-9F79-EE490757C6E8}" type="pres">
      <dgm:prSet presAssocID="{664F1210-696F-44A5-95B4-E9620C9E94F3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68DC9553-BEA5-461A-9398-0757D03FCA05}" type="pres">
      <dgm:prSet presAssocID="{664F1210-696F-44A5-95B4-E9620C9E94F3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E9C97E04-BD59-4D01-8AD3-4C9E278D4712}" srcId="{FB0D8112-5610-434E-ABFE-35B1C70347EA}" destId="{A7F1AB81-E0DA-425A-8338-679F93B9803C}" srcOrd="1" destOrd="0" parTransId="{3927835E-D47D-4E77-993D-2CA0F6A31ED0}" sibTransId="{5AFBFC67-AA22-40C2-8E87-C46787BD296A}"/>
    <dgm:cxn modelId="{CE5FDC05-B265-45EE-B988-41390E15CEDC}" type="presOf" srcId="{BE5EC5B7-8432-42AC-9C59-260D21799578}" destId="{1F7198CC-6C29-40B2-B8E9-5D4DE4D51233}" srcOrd="0" destOrd="0" presId="urn:microsoft.com/office/officeart/2005/8/layout/hList1"/>
    <dgm:cxn modelId="{3ACCEB06-F9D6-4632-A536-60B505DDFE4C}" srcId="{A7F1AB81-E0DA-425A-8338-679F93B9803C}" destId="{C97A66A2-B73F-4BB5-A782-4CC1BD01BA0F}" srcOrd="1" destOrd="0" parTransId="{0E159A9B-6272-42A9-AE97-7D62AD897E3C}" sibTransId="{993069DB-CC0A-4A51-9359-CE0B6627F40B}"/>
    <dgm:cxn modelId="{7BCFAB0C-BD90-4A8A-8290-AED1B74DBD36}" type="presOf" srcId="{FBDEB061-F136-4A81-88FB-3AC58FC78728}" destId="{68DC9553-BEA5-461A-9398-0757D03FCA05}" srcOrd="0" destOrd="0" presId="urn:microsoft.com/office/officeart/2005/8/layout/hList1"/>
    <dgm:cxn modelId="{DD780A0F-BD19-42B5-97E6-325F0B0B2C9C}" srcId="{664F1210-696F-44A5-95B4-E9620C9E94F3}" destId="{A661279F-D9BE-4C29-8AAD-FE8E4DCE1FCA}" srcOrd="1" destOrd="0" parTransId="{69E1F9BD-297F-4798-9C28-424AF5E81CC5}" sibTransId="{596AFF97-A427-4397-BDFB-3A18F5EADB01}"/>
    <dgm:cxn modelId="{9A8E7016-8A61-4278-ACDB-39152C50B4DF}" srcId="{664F1210-696F-44A5-95B4-E9620C9E94F3}" destId="{DC298778-927F-4DFA-93C4-D231D9E9BA71}" srcOrd="2" destOrd="0" parTransId="{FD8C734F-8A1E-4AE9-ABC6-EF427B5A20CB}" sibTransId="{47771DCB-A519-4979-BC3B-A9D26069696E}"/>
    <dgm:cxn modelId="{2EDF3F24-78E6-4D56-8447-22C19BBC1B2A}" type="presOf" srcId="{4AAF1FCA-F50F-44B3-8ED7-902F46F0791E}" destId="{7C7199FD-FABB-4912-87E2-32A0C344BE77}" srcOrd="0" destOrd="2" presId="urn:microsoft.com/office/officeart/2005/8/layout/hList1"/>
    <dgm:cxn modelId="{49FB3030-F65E-4578-B67E-5AC760731DA8}" type="presOf" srcId="{7FF83931-D52D-46DE-8A1E-900B230C3265}" destId="{C1C4A1CD-59D4-48FF-BE23-171399B6D7F9}" srcOrd="0" destOrd="1" presId="urn:microsoft.com/office/officeart/2005/8/layout/hList1"/>
    <dgm:cxn modelId="{372D7541-8C74-41D4-8D64-7C1E9BA7E243}" type="presOf" srcId="{A661279F-D9BE-4C29-8AAD-FE8E4DCE1FCA}" destId="{68DC9553-BEA5-461A-9398-0757D03FCA05}" srcOrd="0" destOrd="1" presId="urn:microsoft.com/office/officeart/2005/8/layout/hList1"/>
    <dgm:cxn modelId="{A4749044-93CA-4BAE-92E0-04702880803D}" srcId="{A7F1AB81-E0DA-425A-8338-679F93B9803C}" destId="{EB378AAF-0E94-4788-88DC-355C95011AB2}" srcOrd="0" destOrd="0" parTransId="{B26B608B-C4FA-4B8E-993D-B84EEFF730C5}" sibTransId="{36B7AA88-B5E1-49C2-B431-987212C91249}"/>
    <dgm:cxn modelId="{99A92D66-1221-4541-8866-6AD965112946}" type="presOf" srcId="{664F1210-696F-44A5-95B4-E9620C9E94F3}" destId="{908D13E4-3FE3-46A8-9F79-EE490757C6E8}" srcOrd="0" destOrd="0" presId="urn:microsoft.com/office/officeart/2005/8/layout/hList1"/>
    <dgm:cxn modelId="{3C89164D-83B5-4B9E-92E8-6567EB63940F}" srcId="{FB0D8112-5610-434E-ABFE-35B1C70347EA}" destId="{BE5EC5B7-8432-42AC-9C59-260D21799578}" srcOrd="0" destOrd="0" parTransId="{4C20CD43-0D9D-42E9-AE2C-6F8EE2698EDE}" sibTransId="{D1415575-960C-4AB8-A51E-636F605C7A22}"/>
    <dgm:cxn modelId="{2AF8CE50-4FFA-4858-A3A5-9466B2B9B73B}" srcId="{A7F1AB81-E0DA-425A-8338-679F93B9803C}" destId="{4AAF1FCA-F50F-44B3-8ED7-902F46F0791E}" srcOrd="2" destOrd="0" parTransId="{ABF860D8-20A0-45CE-A488-77CDCEA259F3}" sibTransId="{C00FBB1A-B68B-4F38-A668-F666B588E55A}"/>
    <dgm:cxn modelId="{C5428F54-DAC8-4F4F-B578-4EBE96F49CD5}" srcId="{BE5EC5B7-8432-42AC-9C59-260D21799578}" destId="{2E243508-4CF6-4278-9C72-889EBFD231E2}" srcOrd="0" destOrd="0" parTransId="{DD8EA094-8AAD-42A2-BBAC-F64FB587FCC8}" sibTransId="{9175FFAB-8BF0-466A-BED5-C6ACA0E97DBF}"/>
    <dgm:cxn modelId="{77125975-A012-4D2E-8338-B9F7CFAABAFA}" type="presOf" srcId="{EB378AAF-0E94-4788-88DC-355C95011AB2}" destId="{7C7199FD-FABB-4912-87E2-32A0C344BE77}" srcOrd="0" destOrd="0" presId="urn:microsoft.com/office/officeart/2005/8/layout/hList1"/>
    <dgm:cxn modelId="{C6AB1A90-FA83-4370-87AA-9121909BE095}" type="presOf" srcId="{FB0D8112-5610-434E-ABFE-35B1C70347EA}" destId="{791C8AC6-87BD-4D7E-ADAC-8C955CE71E18}" srcOrd="0" destOrd="0" presId="urn:microsoft.com/office/officeart/2005/8/layout/hList1"/>
    <dgm:cxn modelId="{66FFC7A4-2CF9-4AAC-B71F-4E9C9463030F}" type="presOf" srcId="{A7F1AB81-E0DA-425A-8338-679F93B9803C}" destId="{BE0187FE-C5E3-49A0-AC46-C2038B73A996}" srcOrd="0" destOrd="0" presId="urn:microsoft.com/office/officeart/2005/8/layout/hList1"/>
    <dgm:cxn modelId="{477E4FAB-A461-4DF1-A4EE-91B3C882FA98}" srcId="{664F1210-696F-44A5-95B4-E9620C9E94F3}" destId="{FBDEB061-F136-4A81-88FB-3AC58FC78728}" srcOrd="0" destOrd="0" parTransId="{830AD44E-E144-4A97-9071-FC8916E4D6BB}" sibTransId="{BE9C1652-FA30-4E95-B851-E6CF44707D0D}"/>
    <dgm:cxn modelId="{2C8EF4BA-69F3-465D-ABFE-7F095F006F55}" type="presOf" srcId="{2E243508-4CF6-4278-9C72-889EBFD231E2}" destId="{C1C4A1CD-59D4-48FF-BE23-171399B6D7F9}" srcOrd="0" destOrd="0" presId="urn:microsoft.com/office/officeart/2005/8/layout/hList1"/>
    <dgm:cxn modelId="{50671EC1-16AB-42DF-A6C6-6063E1C70310}" type="presOf" srcId="{DC298778-927F-4DFA-93C4-D231D9E9BA71}" destId="{68DC9553-BEA5-461A-9398-0757D03FCA05}" srcOrd="0" destOrd="2" presId="urn:microsoft.com/office/officeart/2005/8/layout/hList1"/>
    <dgm:cxn modelId="{72FFC1C5-1946-4132-8DDD-2A8C4FAA0850}" srcId="{BE5EC5B7-8432-42AC-9C59-260D21799578}" destId="{7FF83931-D52D-46DE-8A1E-900B230C3265}" srcOrd="1" destOrd="0" parTransId="{BF4CB17E-3895-4731-8AF3-010355D8FB64}" sibTransId="{21DCB46C-33FE-4068-8593-56A2EEF64E91}"/>
    <dgm:cxn modelId="{C32071C6-488C-4D51-B63B-1C113A68FE65}" type="presOf" srcId="{C93FF3F6-D110-4106-945B-9C00F51F27AE}" destId="{C1C4A1CD-59D4-48FF-BE23-171399B6D7F9}" srcOrd="0" destOrd="2" presId="urn:microsoft.com/office/officeart/2005/8/layout/hList1"/>
    <dgm:cxn modelId="{CB4C10CC-9058-4573-85B9-72FAEC87E94F}" type="presOf" srcId="{C97A66A2-B73F-4BB5-A782-4CC1BD01BA0F}" destId="{7C7199FD-FABB-4912-87E2-32A0C344BE77}" srcOrd="0" destOrd="1" presId="urn:microsoft.com/office/officeart/2005/8/layout/hList1"/>
    <dgm:cxn modelId="{8684D1D8-0E00-4A39-AF1C-D624EFC5117E}" srcId="{BE5EC5B7-8432-42AC-9C59-260D21799578}" destId="{C93FF3F6-D110-4106-945B-9C00F51F27AE}" srcOrd="2" destOrd="0" parTransId="{7E085B99-A2B0-485B-9F12-060255F60176}" sibTransId="{1560C205-CD43-4CDD-AE61-E741D1579B5C}"/>
    <dgm:cxn modelId="{2262FBE4-4F71-4E53-8364-014002197B85}" srcId="{FB0D8112-5610-434E-ABFE-35B1C70347EA}" destId="{664F1210-696F-44A5-95B4-E9620C9E94F3}" srcOrd="2" destOrd="0" parTransId="{411DB2CC-EE60-4C30-96F2-76A8C7F7E39C}" sibTransId="{E994487B-7E15-4477-8814-F020B527B3E6}"/>
    <dgm:cxn modelId="{DE8C8348-8F28-4B4C-B6B5-645B1569A821}" type="presParOf" srcId="{791C8AC6-87BD-4D7E-ADAC-8C955CE71E18}" destId="{E6F1D383-5271-41BA-B001-00D2F6155DC4}" srcOrd="0" destOrd="0" presId="urn:microsoft.com/office/officeart/2005/8/layout/hList1"/>
    <dgm:cxn modelId="{2AA4A831-D427-4282-B329-C023FC5B38E3}" type="presParOf" srcId="{E6F1D383-5271-41BA-B001-00D2F6155DC4}" destId="{1F7198CC-6C29-40B2-B8E9-5D4DE4D51233}" srcOrd="0" destOrd="0" presId="urn:microsoft.com/office/officeart/2005/8/layout/hList1"/>
    <dgm:cxn modelId="{C12DCA6C-9908-46D9-8FD0-67FC44562214}" type="presParOf" srcId="{E6F1D383-5271-41BA-B001-00D2F6155DC4}" destId="{C1C4A1CD-59D4-48FF-BE23-171399B6D7F9}" srcOrd="1" destOrd="0" presId="urn:microsoft.com/office/officeart/2005/8/layout/hList1"/>
    <dgm:cxn modelId="{6A206028-81F8-4A35-9407-A2DAB7E5E55D}" type="presParOf" srcId="{791C8AC6-87BD-4D7E-ADAC-8C955CE71E18}" destId="{A7E435A9-06EB-44D4-BEA3-A6A1CEE83980}" srcOrd="1" destOrd="0" presId="urn:microsoft.com/office/officeart/2005/8/layout/hList1"/>
    <dgm:cxn modelId="{DE941F03-95AD-4876-A047-5B4ED2E3774E}" type="presParOf" srcId="{791C8AC6-87BD-4D7E-ADAC-8C955CE71E18}" destId="{7529954F-E048-4C85-8C66-8C821301C4E8}" srcOrd="2" destOrd="0" presId="urn:microsoft.com/office/officeart/2005/8/layout/hList1"/>
    <dgm:cxn modelId="{B53496D1-DC82-48A4-B110-BCD2588CA2D9}" type="presParOf" srcId="{7529954F-E048-4C85-8C66-8C821301C4E8}" destId="{BE0187FE-C5E3-49A0-AC46-C2038B73A996}" srcOrd="0" destOrd="0" presId="urn:microsoft.com/office/officeart/2005/8/layout/hList1"/>
    <dgm:cxn modelId="{A54BA5A8-3888-40FA-A042-E5BDB5CFF1C6}" type="presParOf" srcId="{7529954F-E048-4C85-8C66-8C821301C4E8}" destId="{7C7199FD-FABB-4912-87E2-32A0C344BE77}" srcOrd="1" destOrd="0" presId="urn:microsoft.com/office/officeart/2005/8/layout/hList1"/>
    <dgm:cxn modelId="{5EA34C33-E0D1-4F95-8128-8C9ACECA4763}" type="presParOf" srcId="{791C8AC6-87BD-4D7E-ADAC-8C955CE71E18}" destId="{199F5F42-57AE-4A6D-9228-FB14E5087976}" srcOrd="3" destOrd="0" presId="urn:microsoft.com/office/officeart/2005/8/layout/hList1"/>
    <dgm:cxn modelId="{27355052-524A-40BA-AF2B-3A34B22A2337}" type="presParOf" srcId="{791C8AC6-87BD-4D7E-ADAC-8C955CE71E18}" destId="{4111E331-B788-49B7-A1DA-EE70823CDC59}" srcOrd="4" destOrd="0" presId="urn:microsoft.com/office/officeart/2005/8/layout/hList1"/>
    <dgm:cxn modelId="{157D3BA0-F3B7-45BE-A2E5-752B88D8617E}" type="presParOf" srcId="{4111E331-B788-49B7-A1DA-EE70823CDC59}" destId="{908D13E4-3FE3-46A8-9F79-EE490757C6E8}" srcOrd="0" destOrd="0" presId="urn:microsoft.com/office/officeart/2005/8/layout/hList1"/>
    <dgm:cxn modelId="{C9A2D15E-CBB8-4E9E-966F-723839A64B52}" type="presParOf" srcId="{4111E331-B788-49B7-A1DA-EE70823CDC59}" destId="{68DC9553-BEA5-461A-9398-0757D03FCA0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687341-F50E-44D9-9185-21F0C3B2496C}" type="doc">
      <dgm:prSet loTypeId="urn:microsoft.com/office/officeart/2005/8/layout/hList1" loCatId="list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n-IN"/>
        </a:p>
      </dgm:t>
    </dgm:pt>
    <dgm:pt modelId="{CE3B6B44-5F69-4A0B-A136-39F0E41503D3}">
      <dgm:prSet custT="1"/>
      <dgm:spPr/>
      <dgm:t>
        <a:bodyPr/>
        <a:lstStyle/>
        <a:p>
          <a:pPr rtl="0"/>
          <a:r>
            <a:rPr lang="en-US" sz="1800" b="1"/>
            <a:t>Completed Activity:</a:t>
          </a:r>
          <a:endParaRPr lang="en-IN" sz="1800"/>
        </a:p>
      </dgm:t>
    </dgm:pt>
    <dgm:pt modelId="{51E98902-A0B3-47A0-B7B6-ACD039DEE6BA}" cxnId="{6FC9207D-9A27-4FFC-8912-0D6FDB676845}" type="parTrans">
      <dgm:prSet/>
      <dgm:spPr/>
      <dgm:t>
        <a:bodyPr/>
        <a:lstStyle/>
        <a:p>
          <a:endParaRPr lang="en-IN"/>
        </a:p>
      </dgm:t>
    </dgm:pt>
    <dgm:pt modelId="{30D874DE-6D84-4730-B44C-814B29AFEE0C}" cxnId="{6FC9207D-9A27-4FFC-8912-0D6FDB676845}" type="sibTrans">
      <dgm:prSet/>
      <dgm:spPr/>
      <dgm:t>
        <a:bodyPr/>
        <a:lstStyle/>
        <a:p>
          <a:endParaRPr lang="en-IN"/>
        </a:p>
      </dgm:t>
    </dgm:pt>
    <dgm:pt modelId="{39108624-9973-4B6C-94F2-674F3637C211}">
      <dgm:prSet phldr="0" custT="1"/>
      <dgm:spPr/>
      <dgm:t>
        <a:bodyPr vert="horz" wrap="square"/>
        <a:lstStyle/>
        <a:p>
          <a:pPr rtl="0"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en-US" sz="1800" dirty="0"/>
            <a:t>The workbook has been submitted to the business team and is now signed off by them on 06-Nov-24.</a:t>
          </a:r>
          <a:endParaRPr lang="en-IN" sz="1800" dirty="0"/>
        </a:p>
      </dgm:t>
    </dgm:pt>
    <dgm:pt modelId="{D872F540-0A42-4E2F-A642-ABE27DB903C7}" cxnId="{14289E2C-7B36-4C86-B6C5-1A9DF3E5EE76}" type="parTrans">
      <dgm:prSet/>
      <dgm:spPr/>
      <dgm:t>
        <a:bodyPr/>
        <a:lstStyle/>
        <a:p>
          <a:endParaRPr lang="en-IN"/>
        </a:p>
      </dgm:t>
    </dgm:pt>
    <dgm:pt modelId="{8AC7F3DA-D7E9-46BC-811C-E0747E8EAE0B}" cxnId="{14289E2C-7B36-4C86-B6C5-1A9DF3E5EE76}" type="sibTrans">
      <dgm:prSet/>
      <dgm:spPr/>
      <dgm:t>
        <a:bodyPr/>
        <a:lstStyle/>
        <a:p>
          <a:endParaRPr lang="en-IN"/>
        </a:p>
      </dgm:t>
    </dgm:pt>
    <dgm:pt modelId="{FB654009-FCE7-4EF0-BE88-5E6B77823065}">
      <dgm:prSet custT="1"/>
      <dgm:spPr/>
      <dgm:t>
        <a:bodyPr/>
        <a:lstStyle/>
        <a:p>
          <a:pPr rtl="0"/>
          <a:r>
            <a:rPr lang="en-US" sz="1800" b="1"/>
            <a:t>This Week:</a:t>
          </a:r>
          <a:endParaRPr lang="en-IN" sz="1800"/>
        </a:p>
      </dgm:t>
    </dgm:pt>
    <dgm:pt modelId="{8ED683A4-2E1F-458F-ADB5-AF20A6B7DA01}" cxnId="{CA191693-E281-4EC3-B03B-8142451BA720}" type="parTrans">
      <dgm:prSet/>
      <dgm:spPr/>
      <dgm:t>
        <a:bodyPr/>
        <a:lstStyle/>
        <a:p>
          <a:endParaRPr lang="en-IN"/>
        </a:p>
      </dgm:t>
    </dgm:pt>
    <dgm:pt modelId="{BE5832CA-7FFE-4DEF-80ED-6A622FF1091F}" cxnId="{CA191693-E281-4EC3-B03B-8142451BA720}" type="sibTrans">
      <dgm:prSet/>
      <dgm:spPr/>
      <dgm:t>
        <a:bodyPr/>
        <a:lstStyle/>
        <a:p>
          <a:endParaRPr lang="en-IN"/>
        </a:p>
      </dgm:t>
    </dgm:pt>
    <dgm:pt modelId="{3F211ADC-4CF5-4C1C-B8FF-A9871C51206D}">
      <dgm:prSet custT="1"/>
      <dgm:spPr/>
      <dgm:t>
        <a:bodyPr/>
        <a:lstStyle/>
        <a:p>
          <a:pPr rtl="0"/>
          <a:r>
            <a:rPr lang="en-US" sz="1800" dirty="0"/>
            <a:t>System Configuration changes as per discussion during Iteration.</a:t>
          </a:r>
          <a:endParaRPr lang="en-IN" sz="1800" dirty="0"/>
        </a:p>
      </dgm:t>
    </dgm:pt>
    <dgm:pt modelId="{2F20BCEA-5BBA-4654-970A-654BE5F42587}" cxnId="{DE300F82-7503-446F-8B82-C7D516C86FBD}" type="parTrans">
      <dgm:prSet/>
      <dgm:spPr/>
      <dgm:t>
        <a:bodyPr/>
        <a:lstStyle/>
        <a:p>
          <a:endParaRPr lang="en-IN"/>
        </a:p>
      </dgm:t>
    </dgm:pt>
    <dgm:pt modelId="{889F73EA-A50A-4F38-9A82-9F94B7BFAD27}" cxnId="{DE300F82-7503-446F-8B82-C7D516C86FBD}" type="sibTrans">
      <dgm:prSet/>
      <dgm:spPr/>
      <dgm:t>
        <a:bodyPr/>
        <a:lstStyle/>
        <a:p>
          <a:endParaRPr lang="en-IN"/>
        </a:p>
      </dgm:t>
    </dgm:pt>
    <dgm:pt modelId="{689D9CF1-E3B1-4CA8-BB6D-30BD4DC20780}">
      <dgm:prSet custT="1"/>
      <dgm:spPr/>
      <dgm:t>
        <a:bodyPr/>
        <a:lstStyle/>
        <a:p>
          <a:pPr rtl="0"/>
          <a:r>
            <a:rPr lang="en-US" sz="1800" b="1"/>
            <a:t>Planned Activities for next Week:</a:t>
          </a:r>
          <a:endParaRPr lang="en-IN" sz="1800"/>
        </a:p>
      </dgm:t>
    </dgm:pt>
    <dgm:pt modelId="{241C268D-DEAD-40CB-8155-36DE44247FBB}" cxnId="{904D71AA-A7BA-413E-AD8A-C86CC26744F5}" type="parTrans">
      <dgm:prSet/>
      <dgm:spPr/>
      <dgm:t>
        <a:bodyPr/>
        <a:lstStyle/>
        <a:p>
          <a:endParaRPr lang="en-IN"/>
        </a:p>
      </dgm:t>
    </dgm:pt>
    <dgm:pt modelId="{AC1F0619-3BDC-49EB-BB73-EDA0E42C9FBD}" cxnId="{904D71AA-A7BA-413E-AD8A-C86CC26744F5}" type="sibTrans">
      <dgm:prSet/>
      <dgm:spPr/>
      <dgm:t>
        <a:bodyPr/>
        <a:lstStyle/>
        <a:p>
          <a:endParaRPr lang="en-IN"/>
        </a:p>
      </dgm:t>
    </dgm:pt>
    <dgm:pt modelId="{15842541-E7D5-4FDB-B156-9EF710525E7A}">
      <dgm:prSet custT="1"/>
      <dgm:spPr/>
      <dgm:t>
        <a:bodyPr/>
        <a:lstStyle/>
        <a:p>
          <a:pPr rtl="0"/>
          <a:r>
            <a:rPr lang="en-US" sz="1800" dirty="0"/>
            <a:t>System demonstration to HCC team with changes captured during Iteration to take the Iteration signoff.</a:t>
          </a:r>
          <a:endParaRPr lang="en-IN" sz="1800" dirty="0"/>
        </a:p>
      </dgm:t>
    </dgm:pt>
    <dgm:pt modelId="{9A228F19-25C2-4A57-857A-625431BB0E2D}" cxnId="{53FA642A-56E9-4253-8CCB-F19CA8A5B4C1}" type="parTrans">
      <dgm:prSet/>
      <dgm:spPr/>
      <dgm:t>
        <a:bodyPr/>
        <a:lstStyle/>
        <a:p>
          <a:endParaRPr lang="en-IN"/>
        </a:p>
      </dgm:t>
    </dgm:pt>
    <dgm:pt modelId="{EB511784-3732-4F19-8411-5DA2174158DD}" cxnId="{53FA642A-56E9-4253-8CCB-F19CA8A5B4C1}" type="sibTrans">
      <dgm:prSet/>
      <dgm:spPr/>
      <dgm:t>
        <a:bodyPr/>
        <a:lstStyle/>
        <a:p>
          <a:endParaRPr lang="en-IN"/>
        </a:p>
      </dgm:t>
    </dgm:pt>
    <dgm:pt modelId="{C9DC4332-DBEF-4F82-AC7B-1B181398B79B}">
      <dgm:prSet phldr="0" custT="1"/>
      <dgm:spPr/>
      <dgm:t>
        <a:bodyPr vert="horz" wrap="square"/>
        <a:lstStyle/>
        <a:p>
          <a:pPr rtl="0"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en-US" sz="1800" dirty="0"/>
            <a:t>Iteration is completed on 19</a:t>
          </a:r>
          <a:r>
            <a:rPr lang="en-US" sz="1800" baseline="30000" dirty="0"/>
            <a:t>th</a:t>
          </a:r>
          <a:r>
            <a:rPr lang="en-US" sz="1800" dirty="0"/>
            <a:t> Of December.</a:t>
          </a:r>
          <a:endParaRPr lang="en-IN" sz="1800" dirty="0"/>
        </a:p>
      </dgm:t>
    </dgm:pt>
    <dgm:pt modelId="{21ACDCDF-C7AD-40B1-B879-78F2BB8F21DF}" cxnId="{5C2332F2-C7B0-4E62-A268-84B82BBCC93D}" type="parTrans">
      <dgm:prSet/>
      <dgm:spPr/>
      <dgm:t>
        <a:bodyPr/>
        <a:lstStyle/>
        <a:p>
          <a:endParaRPr lang="en-IN"/>
        </a:p>
      </dgm:t>
    </dgm:pt>
    <dgm:pt modelId="{64565FBE-4CDD-43C7-AB43-F86382AD2F94}" cxnId="{5C2332F2-C7B0-4E62-A268-84B82BBCC93D}" type="sibTrans">
      <dgm:prSet/>
      <dgm:spPr/>
      <dgm:t>
        <a:bodyPr/>
        <a:lstStyle/>
        <a:p>
          <a:endParaRPr lang="en-IN"/>
        </a:p>
      </dgm:t>
    </dgm:pt>
    <dgm:pt modelId="{4B8EC8D9-F181-4FEC-830A-2E8DC836BD35}" type="pres">
      <dgm:prSet presAssocID="{43687341-F50E-44D9-9185-21F0C3B2496C}" presName="Name0" presStyleCnt="0">
        <dgm:presLayoutVars>
          <dgm:dir/>
          <dgm:animLvl val="lvl"/>
          <dgm:resizeHandles val="exact"/>
        </dgm:presLayoutVars>
      </dgm:prSet>
      <dgm:spPr/>
    </dgm:pt>
    <dgm:pt modelId="{877C2FFB-64BA-41CC-B0F3-6E79890DED76}" type="pres">
      <dgm:prSet presAssocID="{CE3B6B44-5F69-4A0B-A136-39F0E41503D3}" presName="composite" presStyleCnt="0"/>
      <dgm:spPr/>
    </dgm:pt>
    <dgm:pt modelId="{5B65544A-D39C-47FF-93B7-E5E1E3C6105F}" type="pres">
      <dgm:prSet presAssocID="{CE3B6B44-5F69-4A0B-A136-39F0E41503D3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014DC3B4-4BE0-458A-827A-5B26715CB1B2}" type="pres">
      <dgm:prSet presAssocID="{CE3B6B44-5F69-4A0B-A136-39F0E41503D3}" presName="desTx" presStyleLbl="alignAccFollowNode1" presStyleIdx="0" presStyleCnt="3">
        <dgm:presLayoutVars>
          <dgm:bulletEnabled val="1"/>
        </dgm:presLayoutVars>
      </dgm:prSet>
      <dgm:spPr/>
    </dgm:pt>
    <dgm:pt modelId="{1561C146-50DE-46D9-93FD-D264DB94A77F}" type="pres">
      <dgm:prSet presAssocID="{30D874DE-6D84-4730-B44C-814B29AFEE0C}" presName="space" presStyleCnt="0"/>
      <dgm:spPr/>
    </dgm:pt>
    <dgm:pt modelId="{F9744875-B099-4F69-9462-01036464C8A0}" type="pres">
      <dgm:prSet presAssocID="{FB654009-FCE7-4EF0-BE88-5E6B77823065}" presName="composite" presStyleCnt="0"/>
      <dgm:spPr/>
    </dgm:pt>
    <dgm:pt modelId="{A557A38B-B8A1-4C79-B353-045A87D839AA}" type="pres">
      <dgm:prSet presAssocID="{FB654009-FCE7-4EF0-BE88-5E6B77823065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150A34F-4BE8-4901-90AB-03AF0A164C3A}" type="pres">
      <dgm:prSet presAssocID="{FB654009-FCE7-4EF0-BE88-5E6B77823065}" presName="desTx" presStyleLbl="alignAccFollowNode1" presStyleIdx="1" presStyleCnt="3">
        <dgm:presLayoutVars>
          <dgm:bulletEnabled val="1"/>
        </dgm:presLayoutVars>
      </dgm:prSet>
      <dgm:spPr/>
    </dgm:pt>
    <dgm:pt modelId="{11D2DE4E-6F83-4373-B339-64A36103C46C}" type="pres">
      <dgm:prSet presAssocID="{BE5832CA-7FFE-4DEF-80ED-6A622FF1091F}" presName="space" presStyleCnt="0"/>
      <dgm:spPr/>
    </dgm:pt>
    <dgm:pt modelId="{BC911D1B-E61C-4DFB-933E-AA1999888FF9}" type="pres">
      <dgm:prSet presAssocID="{689D9CF1-E3B1-4CA8-BB6D-30BD4DC20780}" presName="composite" presStyleCnt="0"/>
      <dgm:spPr/>
    </dgm:pt>
    <dgm:pt modelId="{03DA43B8-C84C-45E5-81D8-16FAB8C7E9E9}" type="pres">
      <dgm:prSet presAssocID="{689D9CF1-E3B1-4CA8-BB6D-30BD4DC20780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A88C74FC-7A33-4C4B-8B48-A4AF912317FC}" type="pres">
      <dgm:prSet presAssocID="{689D9CF1-E3B1-4CA8-BB6D-30BD4DC20780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52E9BF08-2FF1-4054-8447-884A9DE6CDDC}" type="presOf" srcId="{689D9CF1-E3B1-4CA8-BB6D-30BD4DC20780}" destId="{03DA43B8-C84C-45E5-81D8-16FAB8C7E9E9}" srcOrd="0" destOrd="0" presId="urn:microsoft.com/office/officeart/2005/8/layout/hList1"/>
    <dgm:cxn modelId="{6D437017-7672-4047-8856-E56E000FDDC0}" type="presOf" srcId="{43687341-F50E-44D9-9185-21F0C3B2496C}" destId="{4B8EC8D9-F181-4FEC-830A-2E8DC836BD35}" srcOrd="0" destOrd="0" presId="urn:microsoft.com/office/officeart/2005/8/layout/hList1"/>
    <dgm:cxn modelId="{9DC1651A-6259-4D06-A21F-A593D2D8C89A}" type="presOf" srcId="{C9DC4332-DBEF-4F82-AC7B-1B181398B79B}" destId="{014DC3B4-4BE0-458A-827A-5B26715CB1B2}" srcOrd="0" destOrd="1" presId="urn:microsoft.com/office/officeart/2005/8/layout/hList1"/>
    <dgm:cxn modelId="{3140821E-8A64-4F85-BDAB-5AEEDD78B742}" type="presOf" srcId="{CE3B6B44-5F69-4A0B-A136-39F0E41503D3}" destId="{5B65544A-D39C-47FF-93B7-E5E1E3C6105F}" srcOrd="0" destOrd="0" presId="urn:microsoft.com/office/officeart/2005/8/layout/hList1"/>
    <dgm:cxn modelId="{53FA642A-56E9-4253-8CCB-F19CA8A5B4C1}" srcId="{689D9CF1-E3B1-4CA8-BB6D-30BD4DC20780}" destId="{15842541-E7D5-4FDB-B156-9EF710525E7A}" srcOrd="0" destOrd="0" parTransId="{9A228F19-25C2-4A57-857A-625431BB0E2D}" sibTransId="{EB511784-3732-4F19-8411-5DA2174158DD}"/>
    <dgm:cxn modelId="{14289E2C-7B36-4C86-B6C5-1A9DF3E5EE76}" srcId="{CE3B6B44-5F69-4A0B-A136-39F0E41503D3}" destId="{39108624-9973-4B6C-94F2-674F3637C211}" srcOrd="0" destOrd="0" parTransId="{D872F540-0A42-4E2F-A642-ABE27DB903C7}" sibTransId="{8AC7F3DA-D7E9-46BC-811C-E0747E8EAE0B}"/>
    <dgm:cxn modelId="{EA4DA72D-920E-4860-9523-3EB898626317}" type="presOf" srcId="{FB654009-FCE7-4EF0-BE88-5E6B77823065}" destId="{A557A38B-B8A1-4C79-B353-045A87D839AA}" srcOrd="0" destOrd="0" presId="urn:microsoft.com/office/officeart/2005/8/layout/hList1"/>
    <dgm:cxn modelId="{A62C4979-D58D-4618-A667-92631D493F33}" type="presOf" srcId="{15842541-E7D5-4FDB-B156-9EF710525E7A}" destId="{A88C74FC-7A33-4C4B-8B48-A4AF912317FC}" srcOrd="0" destOrd="0" presId="urn:microsoft.com/office/officeart/2005/8/layout/hList1"/>
    <dgm:cxn modelId="{6FC9207D-9A27-4FFC-8912-0D6FDB676845}" srcId="{43687341-F50E-44D9-9185-21F0C3B2496C}" destId="{CE3B6B44-5F69-4A0B-A136-39F0E41503D3}" srcOrd="0" destOrd="0" parTransId="{51E98902-A0B3-47A0-B7B6-ACD039DEE6BA}" sibTransId="{30D874DE-6D84-4730-B44C-814B29AFEE0C}"/>
    <dgm:cxn modelId="{DE300F82-7503-446F-8B82-C7D516C86FBD}" srcId="{FB654009-FCE7-4EF0-BE88-5E6B77823065}" destId="{3F211ADC-4CF5-4C1C-B8FF-A9871C51206D}" srcOrd="0" destOrd="0" parTransId="{2F20BCEA-5BBA-4654-970A-654BE5F42587}" sibTransId="{889F73EA-A50A-4F38-9A82-9F94B7BFAD27}"/>
    <dgm:cxn modelId="{CA191693-E281-4EC3-B03B-8142451BA720}" srcId="{43687341-F50E-44D9-9185-21F0C3B2496C}" destId="{FB654009-FCE7-4EF0-BE88-5E6B77823065}" srcOrd="1" destOrd="0" parTransId="{8ED683A4-2E1F-458F-ADB5-AF20A6B7DA01}" sibTransId="{BE5832CA-7FFE-4DEF-80ED-6A622FF1091F}"/>
    <dgm:cxn modelId="{CD4870AA-4355-4220-97DA-E61713674429}" type="presOf" srcId="{39108624-9973-4B6C-94F2-674F3637C211}" destId="{014DC3B4-4BE0-458A-827A-5B26715CB1B2}" srcOrd="0" destOrd="0" presId="urn:microsoft.com/office/officeart/2005/8/layout/hList1"/>
    <dgm:cxn modelId="{904D71AA-A7BA-413E-AD8A-C86CC26744F5}" srcId="{43687341-F50E-44D9-9185-21F0C3B2496C}" destId="{689D9CF1-E3B1-4CA8-BB6D-30BD4DC20780}" srcOrd="2" destOrd="0" parTransId="{241C268D-DEAD-40CB-8155-36DE44247FBB}" sibTransId="{AC1F0619-3BDC-49EB-BB73-EDA0E42C9FBD}"/>
    <dgm:cxn modelId="{5E6993CF-68F9-439A-9F17-1BD96D80F8DE}" type="presOf" srcId="{3F211ADC-4CF5-4C1C-B8FF-A9871C51206D}" destId="{E150A34F-4BE8-4901-90AB-03AF0A164C3A}" srcOrd="0" destOrd="0" presId="urn:microsoft.com/office/officeart/2005/8/layout/hList1"/>
    <dgm:cxn modelId="{5C2332F2-C7B0-4E62-A268-84B82BBCC93D}" srcId="{CE3B6B44-5F69-4A0B-A136-39F0E41503D3}" destId="{C9DC4332-DBEF-4F82-AC7B-1B181398B79B}" srcOrd="1" destOrd="0" parTransId="{21ACDCDF-C7AD-40B1-B879-78F2BB8F21DF}" sibTransId="{64565FBE-4CDD-43C7-AB43-F86382AD2F94}"/>
    <dgm:cxn modelId="{838A14D4-146A-4AFD-BF31-79DD43B17F71}" type="presParOf" srcId="{4B8EC8D9-F181-4FEC-830A-2E8DC836BD35}" destId="{877C2FFB-64BA-41CC-B0F3-6E79890DED76}" srcOrd="0" destOrd="0" presId="urn:microsoft.com/office/officeart/2005/8/layout/hList1"/>
    <dgm:cxn modelId="{F9E05FF2-6B5C-4BCD-8D4F-33BC0776EC37}" type="presParOf" srcId="{877C2FFB-64BA-41CC-B0F3-6E79890DED76}" destId="{5B65544A-D39C-47FF-93B7-E5E1E3C6105F}" srcOrd="0" destOrd="0" presId="urn:microsoft.com/office/officeart/2005/8/layout/hList1"/>
    <dgm:cxn modelId="{F17FD5C2-3CE0-4C21-AEF9-B9E53F711B41}" type="presParOf" srcId="{877C2FFB-64BA-41CC-B0F3-6E79890DED76}" destId="{014DC3B4-4BE0-458A-827A-5B26715CB1B2}" srcOrd="1" destOrd="0" presId="urn:microsoft.com/office/officeart/2005/8/layout/hList1"/>
    <dgm:cxn modelId="{7A8C85AB-F350-4A20-BDF0-A11F771A8D9D}" type="presParOf" srcId="{4B8EC8D9-F181-4FEC-830A-2E8DC836BD35}" destId="{1561C146-50DE-46D9-93FD-D264DB94A77F}" srcOrd="1" destOrd="0" presId="urn:microsoft.com/office/officeart/2005/8/layout/hList1"/>
    <dgm:cxn modelId="{10FF95BE-6EED-4206-AF5A-EC37E049F2D2}" type="presParOf" srcId="{4B8EC8D9-F181-4FEC-830A-2E8DC836BD35}" destId="{F9744875-B099-4F69-9462-01036464C8A0}" srcOrd="2" destOrd="0" presId="urn:microsoft.com/office/officeart/2005/8/layout/hList1"/>
    <dgm:cxn modelId="{100FD318-55FE-46A1-86BF-1878DDB27A16}" type="presParOf" srcId="{F9744875-B099-4F69-9462-01036464C8A0}" destId="{A557A38B-B8A1-4C79-B353-045A87D839AA}" srcOrd="0" destOrd="0" presId="urn:microsoft.com/office/officeart/2005/8/layout/hList1"/>
    <dgm:cxn modelId="{90BBE0C5-02AC-4C55-BEA1-BC93AF902E5C}" type="presParOf" srcId="{F9744875-B099-4F69-9462-01036464C8A0}" destId="{E150A34F-4BE8-4901-90AB-03AF0A164C3A}" srcOrd="1" destOrd="0" presId="urn:microsoft.com/office/officeart/2005/8/layout/hList1"/>
    <dgm:cxn modelId="{12BE77AC-5916-4FBA-9311-19540256904A}" type="presParOf" srcId="{4B8EC8D9-F181-4FEC-830A-2E8DC836BD35}" destId="{11D2DE4E-6F83-4373-B339-64A36103C46C}" srcOrd="3" destOrd="0" presId="urn:microsoft.com/office/officeart/2005/8/layout/hList1"/>
    <dgm:cxn modelId="{A718BF4F-9945-4682-BCC3-BCF5EA0AC8B1}" type="presParOf" srcId="{4B8EC8D9-F181-4FEC-830A-2E8DC836BD35}" destId="{BC911D1B-E61C-4DFB-933E-AA1999888FF9}" srcOrd="4" destOrd="0" presId="urn:microsoft.com/office/officeart/2005/8/layout/hList1"/>
    <dgm:cxn modelId="{E689ECE6-981B-4320-A68C-ADF0866A7C4A}" type="presParOf" srcId="{BC911D1B-E61C-4DFB-933E-AA1999888FF9}" destId="{03DA43B8-C84C-45E5-81D8-16FAB8C7E9E9}" srcOrd="0" destOrd="0" presId="urn:microsoft.com/office/officeart/2005/8/layout/hList1"/>
    <dgm:cxn modelId="{6B21C744-E5F0-4975-BEB2-A1D86EA6D144}" type="presParOf" srcId="{BC911D1B-E61C-4DFB-933E-AA1999888FF9}" destId="{A88C74FC-7A33-4C4B-8B48-A4AF912317F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AC98096-CCAB-4F9F-B758-4B077BA253A7}" type="doc">
      <dgm:prSet loTypeId="urn:microsoft.com/office/officeart/2005/8/layout/hList1" loCatId="list" qsTypeId="urn:microsoft.com/office/officeart/2005/8/quickstyle/simple1#3" qsCatId="simple" csTypeId="urn:microsoft.com/office/officeart/2005/8/colors/accent1_2#3" csCatId="accent1" phldr="1"/>
      <dgm:spPr/>
      <dgm:t>
        <a:bodyPr/>
        <a:lstStyle/>
        <a:p>
          <a:endParaRPr lang="en-IN"/>
        </a:p>
      </dgm:t>
    </dgm:pt>
    <dgm:pt modelId="{02EBD85D-643E-4955-A49C-FF98B194119D}">
      <dgm:prSet/>
      <dgm:spPr/>
      <dgm:t>
        <a:bodyPr/>
        <a:lstStyle/>
        <a:p>
          <a:pPr rtl="0"/>
          <a:r>
            <a:rPr lang="en-US" b="1"/>
            <a:t>Completed Activities in this week:</a:t>
          </a:r>
          <a:endParaRPr lang="en-IN"/>
        </a:p>
      </dgm:t>
    </dgm:pt>
    <dgm:pt modelId="{59A41FDF-B26B-4AB6-A442-01D365B0A042}" cxnId="{BD331E94-9AB6-4A29-897F-0EECFD2EB83D}" type="parTrans">
      <dgm:prSet/>
      <dgm:spPr/>
      <dgm:t>
        <a:bodyPr/>
        <a:lstStyle/>
        <a:p>
          <a:endParaRPr lang="en-IN"/>
        </a:p>
      </dgm:t>
    </dgm:pt>
    <dgm:pt modelId="{EF7F370F-3135-49CC-A11A-9B9E6F9E4A32}" cxnId="{BD331E94-9AB6-4A29-897F-0EECFD2EB83D}" type="sibTrans">
      <dgm:prSet/>
      <dgm:spPr/>
      <dgm:t>
        <a:bodyPr/>
        <a:lstStyle/>
        <a:p>
          <a:endParaRPr lang="en-IN"/>
        </a:p>
      </dgm:t>
    </dgm:pt>
    <dgm:pt modelId="{54A374FD-FD35-4123-8CE4-86631088DA71}">
      <dgm:prSet phldr="0" custT="0"/>
      <dgm:spPr/>
      <dgm:t>
        <a:bodyPr vert="horz" wrap="square"/>
        <a:lstStyle/>
        <a:p>
          <a:pPr rtl="0"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en-US" dirty="0"/>
            <a:t> Finalized and uploaded the job requisition template in the provisioning section of Recruitment Management (RCM).</a:t>
          </a:r>
          <a:endParaRPr lang="en-IN" dirty="0"/>
        </a:p>
      </dgm:t>
    </dgm:pt>
    <dgm:pt modelId="{01577502-6B38-4CAB-B2F9-1F02B4767255}" cxnId="{DBD225B6-FAE0-4E5D-AE38-2122539981E5}" type="parTrans">
      <dgm:prSet/>
      <dgm:spPr/>
      <dgm:t>
        <a:bodyPr/>
        <a:lstStyle/>
        <a:p>
          <a:endParaRPr lang="en-IN"/>
        </a:p>
      </dgm:t>
    </dgm:pt>
    <dgm:pt modelId="{53332831-37E4-4492-AF86-7813E0D2B24A}" cxnId="{DBD225B6-FAE0-4E5D-AE38-2122539981E5}" type="sibTrans">
      <dgm:prSet/>
      <dgm:spPr/>
      <dgm:t>
        <a:bodyPr/>
        <a:lstStyle/>
        <a:p>
          <a:endParaRPr lang="en-IN"/>
        </a:p>
      </dgm:t>
    </dgm:pt>
    <dgm:pt modelId="{84DF93B6-1233-4492-83AA-AC5042A66050}">
      <dgm:prSet/>
      <dgm:spPr/>
      <dgm:t>
        <a:bodyPr/>
        <a:lstStyle/>
        <a:p>
          <a:pPr rtl="0"/>
          <a:r>
            <a:rPr lang="en-US" b="1"/>
            <a:t>This Week:</a:t>
          </a:r>
          <a:endParaRPr lang="en-IN"/>
        </a:p>
      </dgm:t>
    </dgm:pt>
    <dgm:pt modelId="{EC929E38-4840-4B64-A6AE-5753098C017D}" cxnId="{03B3F9E0-953E-4391-8C54-190A583B498C}" type="parTrans">
      <dgm:prSet/>
      <dgm:spPr/>
      <dgm:t>
        <a:bodyPr/>
        <a:lstStyle/>
        <a:p>
          <a:endParaRPr lang="en-IN"/>
        </a:p>
      </dgm:t>
    </dgm:pt>
    <dgm:pt modelId="{69CB03B0-22EC-4933-8BE0-EC649E5623C3}" cxnId="{03B3F9E0-953E-4391-8C54-190A583B498C}" type="sibTrans">
      <dgm:prSet/>
      <dgm:spPr/>
      <dgm:t>
        <a:bodyPr/>
        <a:lstStyle/>
        <a:p>
          <a:endParaRPr lang="en-IN"/>
        </a:p>
      </dgm:t>
    </dgm:pt>
    <dgm:pt modelId="{6A03CA12-BFCD-474A-BD7E-1DDA77E70250}">
      <dgm:prSet/>
      <dgm:spPr/>
      <dgm:t>
        <a:bodyPr/>
        <a:lstStyle/>
        <a:p>
          <a:pPr rtl="0"/>
          <a:r>
            <a:rPr lang="en-US" dirty="0"/>
            <a:t>Configured recruiting settings.</a:t>
          </a:r>
          <a:endParaRPr lang="en-IN" dirty="0"/>
        </a:p>
      </dgm:t>
    </dgm:pt>
    <dgm:pt modelId="{F59C5F64-95B0-418E-A55E-CEECC4725CAC}" cxnId="{DE56CF8C-E0DC-46A6-9D0F-D5C6C014B7D8}" type="parTrans">
      <dgm:prSet/>
      <dgm:spPr/>
      <dgm:t>
        <a:bodyPr/>
        <a:lstStyle/>
        <a:p>
          <a:endParaRPr lang="en-IN"/>
        </a:p>
      </dgm:t>
    </dgm:pt>
    <dgm:pt modelId="{FD52F5F0-B037-4F87-8741-C2CF314B212B}" cxnId="{DE56CF8C-E0DC-46A6-9D0F-D5C6C014B7D8}" type="sibTrans">
      <dgm:prSet/>
      <dgm:spPr/>
      <dgm:t>
        <a:bodyPr/>
        <a:lstStyle/>
        <a:p>
          <a:endParaRPr lang="en-IN"/>
        </a:p>
      </dgm:t>
    </dgm:pt>
    <dgm:pt modelId="{F4E80FC8-829B-4064-81A7-51799D8C60E4}">
      <dgm:prSet/>
      <dgm:spPr/>
      <dgm:t>
        <a:bodyPr/>
        <a:lstStyle/>
        <a:p>
          <a:pPr rtl="0"/>
          <a:r>
            <a:rPr lang="en-IN" b="1"/>
            <a:t>Planned activities for next week.</a:t>
          </a:r>
          <a:endParaRPr lang="en-IN"/>
        </a:p>
      </dgm:t>
    </dgm:pt>
    <dgm:pt modelId="{7D2EDDD3-CCAF-4D83-A1A4-2886707BC1D1}" cxnId="{06403FDA-D982-4B04-86DA-56CD0F5AD633}" type="parTrans">
      <dgm:prSet/>
      <dgm:spPr/>
      <dgm:t>
        <a:bodyPr/>
        <a:lstStyle/>
        <a:p>
          <a:endParaRPr lang="en-IN"/>
        </a:p>
      </dgm:t>
    </dgm:pt>
    <dgm:pt modelId="{DAC3D59B-E172-4A94-BDF0-6F41DB94F46E}" cxnId="{06403FDA-D982-4B04-86DA-56CD0F5AD633}" type="sibTrans">
      <dgm:prSet/>
      <dgm:spPr/>
      <dgm:t>
        <a:bodyPr/>
        <a:lstStyle/>
        <a:p>
          <a:endParaRPr lang="en-IN"/>
        </a:p>
      </dgm:t>
    </dgm:pt>
    <dgm:pt modelId="{7D932054-BFCD-4D9C-8011-FE2559E0BD33}">
      <dgm:prSet/>
      <dgm:spPr/>
      <dgm:t>
        <a:bodyPr/>
        <a:lstStyle/>
        <a:p>
          <a:pPr rtl="0"/>
          <a:r>
            <a:rPr lang="en-US" dirty="0"/>
            <a:t>Application Field labels</a:t>
          </a:r>
          <a:endParaRPr lang="en-IN" dirty="0"/>
        </a:p>
      </dgm:t>
    </dgm:pt>
    <dgm:pt modelId="{2735B3FD-B9A7-4246-9F6B-8A333EB41DCF}" cxnId="{CF89C766-FC4E-44FC-9445-74306367B6CD}" type="parTrans">
      <dgm:prSet/>
      <dgm:spPr/>
      <dgm:t>
        <a:bodyPr/>
        <a:lstStyle/>
        <a:p>
          <a:endParaRPr lang="en-IN"/>
        </a:p>
      </dgm:t>
    </dgm:pt>
    <dgm:pt modelId="{8917F9C8-2200-4050-8322-50B360227950}" cxnId="{CF89C766-FC4E-44FC-9445-74306367B6CD}" type="sibTrans">
      <dgm:prSet/>
      <dgm:spPr/>
      <dgm:t>
        <a:bodyPr/>
        <a:lstStyle/>
        <a:p>
          <a:endParaRPr lang="en-IN"/>
        </a:p>
      </dgm:t>
    </dgm:pt>
    <dgm:pt modelId="{11FA53FE-F03B-403F-A5E2-D6D02DE50B85}">
      <dgm:prSet/>
      <dgm:spPr/>
      <dgm:t>
        <a:bodyPr/>
        <a:lstStyle/>
        <a:p>
          <a:pPr rtl="0"/>
          <a:r>
            <a:rPr lang="en-US" dirty="0"/>
            <a:t> Completed and uploaded the offer details template in the provisioning section of Recruitment Management (RCM).</a:t>
          </a:r>
        </a:p>
      </dgm:t>
    </dgm:pt>
    <dgm:pt modelId="{CBF641BE-091C-4F02-BF1B-4888C02FD9A6}" cxnId="{E1A35003-91BC-4585-8224-F827F02F5055}" type="parTrans">
      <dgm:prSet/>
      <dgm:spPr/>
      <dgm:t>
        <a:bodyPr/>
        <a:lstStyle/>
        <a:p>
          <a:endParaRPr lang="en-US"/>
        </a:p>
      </dgm:t>
    </dgm:pt>
    <dgm:pt modelId="{0505EA06-7FBE-486B-B4F4-CB54873D01F2}" cxnId="{E1A35003-91BC-4585-8224-F827F02F5055}" type="sibTrans">
      <dgm:prSet/>
      <dgm:spPr/>
      <dgm:t>
        <a:bodyPr/>
        <a:lstStyle/>
        <a:p>
          <a:endParaRPr lang="en-US"/>
        </a:p>
      </dgm:t>
    </dgm:pt>
    <dgm:pt modelId="{D4C10638-EA76-4BA0-B078-0D16830DD2A0}">
      <dgm:prSet/>
      <dgm:spPr/>
      <dgm:t>
        <a:bodyPr/>
        <a:lstStyle/>
        <a:p>
          <a:pPr rtl="0"/>
          <a:r>
            <a:rPr lang="en-US" dirty="0"/>
            <a:t> Completed and uploaded the Application template in the provisioning section of Recruitment Management (RCM).</a:t>
          </a:r>
        </a:p>
      </dgm:t>
    </dgm:pt>
    <dgm:pt modelId="{1D6679C8-2AE7-470F-8A6C-2021914D3C69}" cxnId="{3A63D688-8A13-49A4-84C0-09C69BB937AF}" type="parTrans">
      <dgm:prSet/>
      <dgm:spPr/>
      <dgm:t>
        <a:bodyPr/>
        <a:lstStyle/>
        <a:p>
          <a:endParaRPr lang="en-US"/>
        </a:p>
      </dgm:t>
    </dgm:pt>
    <dgm:pt modelId="{0985C21F-5FB2-4908-A317-E801D2CA4EE7}" cxnId="{3A63D688-8A13-49A4-84C0-09C69BB937AF}" type="sibTrans">
      <dgm:prSet/>
      <dgm:spPr/>
      <dgm:t>
        <a:bodyPr/>
        <a:lstStyle/>
        <a:p>
          <a:endParaRPr lang="en-US"/>
        </a:p>
      </dgm:t>
    </dgm:pt>
    <dgm:pt modelId="{8C63DB4B-DBA2-4535-9CF0-29FCCFCF58DF}">
      <dgm:prSet/>
      <dgm:spPr/>
      <dgm:t>
        <a:bodyPr/>
        <a:lstStyle/>
        <a:p>
          <a:pPr rtl="0"/>
          <a:r>
            <a:rPr lang="en-US" dirty="0"/>
            <a:t>Developed the route map based on customer specifications.</a:t>
          </a:r>
        </a:p>
      </dgm:t>
    </dgm:pt>
    <dgm:pt modelId="{834644B2-FF42-4428-9937-C48E13BD7BD1}" cxnId="{884C717D-3D56-46C9-91A3-3F1C432E2C7C}" type="parTrans">
      <dgm:prSet/>
      <dgm:spPr/>
      <dgm:t>
        <a:bodyPr/>
        <a:lstStyle/>
        <a:p>
          <a:endParaRPr lang="en-US"/>
        </a:p>
      </dgm:t>
    </dgm:pt>
    <dgm:pt modelId="{632B75D3-92B2-4711-B695-66E8EF51E087}" cxnId="{884C717D-3D56-46C9-91A3-3F1C432E2C7C}" type="sibTrans">
      <dgm:prSet/>
      <dgm:spPr/>
      <dgm:t>
        <a:bodyPr/>
        <a:lstStyle/>
        <a:p>
          <a:endParaRPr lang="en-US"/>
        </a:p>
      </dgm:t>
    </dgm:pt>
    <dgm:pt modelId="{7CF97679-2A7E-42FB-9C57-718471CF5577}">
      <dgm:prSet/>
      <dgm:spPr/>
      <dgm:t>
        <a:bodyPr/>
        <a:lstStyle/>
        <a:p>
          <a:pPr rtl="0"/>
          <a:r>
            <a:rPr lang="en-US" dirty="0"/>
            <a:t> Finalized and uploaded the candidate profile template in the provisioning section of Recruitment Management (RCM).</a:t>
          </a:r>
        </a:p>
      </dgm:t>
    </dgm:pt>
    <dgm:pt modelId="{57D4392D-A3EF-4C60-A7AB-AECBCC3F3454}" cxnId="{EF7D546E-A55E-41E1-AA0D-1E7324C499CD}" type="parTrans">
      <dgm:prSet/>
      <dgm:spPr/>
    </dgm:pt>
    <dgm:pt modelId="{6061B681-E386-4CAF-AEB5-FC717FF5EE78}" cxnId="{EF7D546E-A55E-41E1-AA0D-1E7324C499CD}" type="sibTrans">
      <dgm:prSet/>
      <dgm:spPr/>
    </dgm:pt>
    <dgm:pt modelId="{5395377F-1289-495F-AB0A-995826A39673}">
      <dgm:prSet/>
      <dgm:spPr/>
      <dgm:t>
        <a:bodyPr/>
        <a:lstStyle/>
        <a:p>
          <a:pPr rtl="0"/>
          <a:r>
            <a:rPr lang="en-US" dirty="0"/>
            <a:t>Set up recruiting team settings</a:t>
          </a:r>
        </a:p>
      </dgm:t>
    </dgm:pt>
    <dgm:pt modelId="{B95E67E0-BC3F-4FE0-A860-8EEAD69A983B}" cxnId="{67B6863D-24AB-4EAF-936F-B03D26CFEB06}" type="parTrans">
      <dgm:prSet/>
      <dgm:spPr/>
      <dgm:t>
        <a:bodyPr/>
        <a:lstStyle/>
        <a:p>
          <a:endParaRPr lang="en-US"/>
        </a:p>
      </dgm:t>
    </dgm:pt>
    <dgm:pt modelId="{55BAC9DC-0243-470D-A7B6-8CA6E5590020}" cxnId="{67B6863D-24AB-4EAF-936F-B03D26CFEB06}" type="sibTrans">
      <dgm:prSet/>
      <dgm:spPr/>
      <dgm:t>
        <a:bodyPr/>
        <a:lstStyle/>
        <a:p>
          <a:endParaRPr lang="en-US"/>
        </a:p>
      </dgm:t>
    </dgm:pt>
    <dgm:pt modelId="{CDFD1D2A-993B-4C96-819F-DA0D1E52EBEA}">
      <dgm:prSet/>
      <dgm:spPr/>
      <dgm:t>
        <a:bodyPr/>
        <a:lstStyle/>
        <a:p>
          <a:pPr rtl="0"/>
          <a:r>
            <a:rPr lang="en-US" dirty="0"/>
            <a:t>Recruiting email triggers</a:t>
          </a:r>
        </a:p>
      </dgm:t>
    </dgm:pt>
    <dgm:pt modelId="{97A1378A-1825-474F-BE72-BAE5D5EE2BE0}" cxnId="{DA5AA007-E070-49E5-AE5A-60DA3A4509F0}" type="parTrans">
      <dgm:prSet/>
      <dgm:spPr/>
      <dgm:t>
        <a:bodyPr/>
        <a:lstStyle/>
        <a:p>
          <a:endParaRPr lang="en-US"/>
        </a:p>
      </dgm:t>
    </dgm:pt>
    <dgm:pt modelId="{3D840EC3-3569-4A18-88D7-DB4F2E3CBE54}" cxnId="{DA5AA007-E070-49E5-AE5A-60DA3A4509F0}" type="sibTrans">
      <dgm:prSet/>
      <dgm:spPr/>
      <dgm:t>
        <a:bodyPr/>
        <a:lstStyle/>
        <a:p>
          <a:endParaRPr lang="en-US"/>
        </a:p>
      </dgm:t>
    </dgm:pt>
    <dgm:pt modelId="{06E34F82-7E1C-47A9-AA40-6A9EF11A0563}">
      <dgm:prSet/>
      <dgm:spPr/>
      <dgm:t>
        <a:bodyPr/>
        <a:lstStyle/>
        <a:p>
          <a:pPr rtl="0"/>
          <a:r>
            <a:rPr lang="en-US" dirty="0"/>
            <a:t>Offer Letter Template</a:t>
          </a:r>
        </a:p>
      </dgm:t>
    </dgm:pt>
    <dgm:pt modelId="{738CC697-3662-4C75-B50E-4631870B76DE}" cxnId="{5E527053-9079-49B8-8C05-942A867A2E51}" type="parTrans">
      <dgm:prSet/>
      <dgm:spPr/>
    </dgm:pt>
    <dgm:pt modelId="{97EA1091-54B6-424C-9527-11F989DCD182}" cxnId="{5E527053-9079-49B8-8C05-942A867A2E51}" type="sibTrans">
      <dgm:prSet/>
      <dgm:spPr/>
    </dgm:pt>
    <dgm:pt modelId="{4B5F7844-D072-4640-938A-AEBA16398480}">
      <dgm:prSet/>
      <dgm:spPr/>
      <dgm:t>
        <a:bodyPr/>
        <a:lstStyle/>
        <a:p>
          <a:pPr rtl="0"/>
          <a:r>
            <a:rPr lang="en-US" dirty="0"/>
            <a:t>Configured the form template settings.</a:t>
          </a:r>
        </a:p>
      </dgm:t>
    </dgm:pt>
    <dgm:pt modelId="{FFBA6CA5-CE3C-4E36-8673-518FE0DC4834}" cxnId="{23FC1A6A-950D-41E2-81DE-CD54C4588901}" type="parTrans">
      <dgm:prSet/>
      <dgm:spPr/>
      <dgm:t>
        <a:bodyPr/>
        <a:lstStyle/>
        <a:p>
          <a:endParaRPr lang="en-US"/>
        </a:p>
      </dgm:t>
    </dgm:pt>
    <dgm:pt modelId="{3213535C-3A75-4A0B-8403-40419D54DD21}" cxnId="{23FC1A6A-950D-41E2-81DE-CD54C4588901}" type="sibTrans">
      <dgm:prSet/>
      <dgm:spPr/>
      <dgm:t>
        <a:bodyPr/>
        <a:lstStyle/>
        <a:p>
          <a:endParaRPr lang="en-US"/>
        </a:p>
      </dgm:t>
    </dgm:pt>
    <dgm:pt modelId="{9429BA32-921E-47DC-A950-DCF9C9641467}">
      <dgm:prSet/>
      <dgm:spPr/>
      <dgm:t>
        <a:bodyPr/>
        <a:lstStyle/>
        <a:p>
          <a:pPr rtl="0"/>
          <a:r>
            <a:rPr lang="en-US" dirty="0"/>
            <a:t>Created the rating scale according to customer requirements.</a:t>
          </a:r>
        </a:p>
      </dgm:t>
    </dgm:pt>
    <dgm:pt modelId="{655178BA-7474-42D2-9ECD-93C96FFE8252}" cxnId="{A623D8A9-9631-42B8-BFC0-99BF7A2EC862}" type="parTrans">
      <dgm:prSet/>
      <dgm:spPr/>
      <dgm:t>
        <a:bodyPr/>
        <a:lstStyle/>
        <a:p>
          <a:endParaRPr lang="en-US"/>
        </a:p>
      </dgm:t>
    </dgm:pt>
    <dgm:pt modelId="{528405B1-0DDB-4FDA-B22F-F12C63245C60}" cxnId="{A623D8A9-9631-42B8-BFC0-99BF7A2EC862}" type="sibTrans">
      <dgm:prSet/>
      <dgm:spPr/>
      <dgm:t>
        <a:bodyPr/>
        <a:lstStyle/>
        <a:p>
          <a:endParaRPr lang="en-US"/>
        </a:p>
      </dgm:t>
    </dgm:pt>
    <dgm:pt modelId="{DBCDF8A0-D0AE-4AA1-AB60-C0B12CA17101}">
      <dgm:prSet/>
      <dgm:spPr/>
      <dgm:t>
        <a:bodyPr/>
        <a:lstStyle/>
        <a:p>
          <a:pPr rtl="0"/>
          <a:r>
            <a:rPr lang="en-US" dirty="0"/>
            <a:t>Set up position management settings.</a:t>
          </a:r>
        </a:p>
      </dgm:t>
    </dgm:pt>
    <dgm:pt modelId="{C55FFAD2-B338-40B9-984B-DE2BC1E8C67D}" cxnId="{611DB9D3-834F-4DD1-918A-2DDE6E58059B}" type="parTrans">
      <dgm:prSet/>
      <dgm:spPr/>
      <dgm:t>
        <a:bodyPr/>
        <a:lstStyle/>
        <a:p>
          <a:endParaRPr lang="en-US"/>
        </a:p>
      </dgm:t>
    </dgm:pt>
    <dgm:pt modelId="{EFE9FF9D-B040-478A-BC35-29B5451F0991}" cxnId="{611DB9D3-834F-4DD1-918A-2DDE6E58059B}" type="sibTrans">
      <dgm:prSet/>
      <dgm:spPr/>
      <dgm:t>
        <a:bodyPr/>
        <a:lstStyle/>
        <a:p>
          <a:endParaRPr lang="en-US"/>
        </a:p>
      </dgm:t>
    </dgm:pt>
    <dgm:pt modelId="{04EC3370-9C28-4BFF-B900-6381F4B92924}">
      <dgm:prSet/>
      <dgm:spPr/>
      <dgm:t>
        <a:bodyPr/>
        <a:lstStyle/>
        <a:p>
          <a:pPr rtl="0"/>
          <a:r>
            <a:rPr lang="en-US" dirty="0"/>
            <a:t>Integrated positions with requisitions.</a:t>
          </a:r>
        </a:p>
      </dgm:t>
    </dgm:pt>
    <dgm:pt modelId="{0C04E596-8343-4946-9168-7C332C2692C2}" cxnId="{DBAA7475-EF41-49E2-8C28-CDEFCF1F1875}" type="parTrans">
      <dgm:prSet/>
      <dgm:spPr/>
      <dgm:t>
        <a:bodyPr/>
        <a:lstStyle/>
        <a:p>
          <a:endParaRPr lang="en-US"/>
        </a:p>
      </dgm:t>
    </dgm:pt>
    <dgm:pt modelId="{A10B0A4F-38EE-49FB-847A-13D542161ACA}" cxnId="{DBAA7475-EF41-49E2-8C28-CDEFCF1F1875}" type="sibTrans">
      <dgm:prSet/>
      <dgm:spPr/>
      <dgm:t>
        <a:bodyPr/>
        <a:lstStyle/>
        <a:p>
          <a:endParaRPr lang="en-US"/>
        </a:p>
      </dgm:t>
    </dgm:pt>
    <dgm:pt modelId="{E31397EF-DEC2-466F-9E5E-8998AE67FBBD}">
      <dgm:prSet/>
      <dgm:spPr/>
      <dgm:t>
        <a:bodyPr/>
        <a:lstStyle/>
        <a:p>
          <a:pPr rtl="0"/>
          <a:endParaRPr lang="en-US" dirty="0"/>
        </a:p>
      </dgm:t>
    </dgm:pt>
    <dgm:pt modelId="{65C4351F-8CFD-4B3B-A6E5-6660F27C68D8}" cxnId="{33B2D111-0B16-4C37-B412-AF2F0CC8F7D8}" type="parTrans">
      <dgm:prSet/>
      <dgm:spPr/>
    </dgm:pt>
    <dgm:pt modelId="{AB537331-F1E7-4770-8230-E20F6CD13C2C}" cxnId="{33B2D111-0B16-4C37-B412-AF2F0CC8F7D8}" type="sibTrans">
      <dgm:prSet/>
      <dgm:spPr/>
    </dgm:pt>
    <dgm:pt modelId="{E933EE47-8D57-43FE-97E6-084F04631DE9}">
      <dgm:prSet/>
      <dgm:spPr/>
      <dgm:t>
        <a:bodyPr/>
        <a:lstStyle/>
        <a:p>
          <a:pPr rtl="0"/>
          <a:r>
            <a:rPr lang="en-US" dirty="0"/>
            <a:t>Manage email templates</a:t>
          </a:r>
        </a:p>
      </dgm:t>
    </dgm:pt>
    <dgm:pt modelId="{93A2651B-625C-4250-96BF-9F7C0F160EAE}" cxnId="{EC944480-3B72-49E9-959B-B6FD6091835E}" type="parTrans">
      <dgm:prSet/>
      <dgm:spPr/>
    </dgm:pt>
    <dgm:pt modelId="{7BD0F76F-3BEC-4433-8106-74A25CC70CA6}" cxnId="{EC944480-3B72-49E9-959B-B6FD6091835E}" type="sibTrans">
      <dgm:prSet/>
      <dgm:spPr/>
    </dgm:pt>
    <dgm:pt modelId="{B584AB90-FDA6-49E7-B276-11F73EB4092D}">
      <dgm:prSet/>
      <dgm:spPr/>
      <dgm:t>
        <a:bodyPr/>
        <a:lstStyle/>
        <a:p>
          <a:pPr rtl="0"/>
          <a:r>
            <a:rPr lang="en-US" dirty="0"/>
            <a:t>Job </a:t>
          </a:r>
          <a:r>
            <a:rPr lang="en-US" dirty="0" err="1"/>
            <a:t>req</a:t>
          </a:r>
          <a:r>
            <a:rPr lang="en-US" dirty="0"/>
            <a:t> field labels</a:t>
          </a:r>
        </a:p>
      </dgm:t>
    </dgm:pt>
    <dgm:pt modelId="{561FBAF8-69AD-4014-9E00-615ADB683DC5}" cxnId="{EE989652-75A3-4442-BCF6-D3FE6963F2B1}" type="parTrans">
      <dgm:prSet/>
      <dgm:spPr/>
      <dgm:t>
        <a:bodyPr/>
        <a:lstStyle/>
        <a:p>
          <a:endParaRPr lang="en-US"/>
        </a:p>
      </dgm:t>
    </dgm:pt>
    <dgm:pt modelId="{203B9EEE-CD45-4340-9CEE-6DE75AAB92E4}" cxnId="{EE989652-75A3-4442-BCF6-D3FE6963F2B1}" type="sibTrans">
      <dgm:prSet/>
      <dgm:spPr/>
      <dgm:t>
        <a:bodyPr/>
        <a:lstStyle/>
        <a:p>
          <a:endParaRPr lang="en-US"/>
        </a:p>
      </dgm:t>
    </dgm:pt>
    <dgm:pt modelId="{C6D43647-805E-4CE0-8D75-C7D68A11AB83}" type="pres">
      <dgm:prSet presAssocID="{3AC98096-CCAB-4F9F-B758-4B077BA253A7}" presName="Name0" presStyleCnt="0">
        <dgm:presLayoutVars>
          <dgm:dir/>
          <dgm:animLvl val="lvl"/>
          <dgm:resizeHandles val="exact"/>
        </dgm:presLayoutVars>
      </dgm:prSet>
      <dgm:spPr/>
    </dgm:pt>
    <dgm:pt modelId="{5199BC80-0F10-427D-994B-F16123E9A8C4}" type="pres">
      <dgm:prSet presAssocID="{02EBD85D-643E-4955-A49C-FF98B194119D}" presName="composite" presStyleCnt="0"/>
      <dgm:spPr/>
    </dgm:pt>
    <dgm:pt modelId="{E1619292-3094-4735-AAEB-4FFBA2953AFD}" type="pres">
      <dgm:prSet presAssocID="{02EBD85D-643E-4955-A49C-FF98B194119D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9F685903-C1AD-4858-B641-640809598C6A}" type="pres">
      <dgm:prSet presAssocID="{02EBD85D-643E-4955-A49C-FF98B194119D}" presName="desTx" presStyleLbl="alignAccFollowNode1" presStyleIdx="0" presStyleCnt="3">
        <dgm:presLayoutVars>
          <dgm:bulletEnabled val="1"/>
        </dgm:presLayoutVars>
      </dgm:prSet>
      <dgm:spPr/>
    </dgm:pt>
    <dgm:pt modelId="{7BCC76C8-F95B-432B-BFB4-D0530B76AB5F}" type="pres">
      <dgm:prSet presAssocID="{EF7F370F-3135-49CC-A11A-9B9E6F9E4A32}" presName="space" presStyleCnt="0"/>
      <dgm:spPr/>
    </dgm:pt>
    <dgm:pt modelId="{40245D5F-ADDD-44AC-B120-AF5FB6044408}" type="pres">
      <dgm:prSet presAssocID="{84DF93B6-1233-4492-83AA-AC5042A66050}" presName="composite" presStyleCnt="0"/>
      <dgm:spPr/>
    </dgm:pt>
    <dgm:pt modelId="{9830A9CF-36CC-4B99-916E-AA8C51BAFFC7}" type="pres">
      <dgm:prSet presAssocID="{84DF93B6-1233-4492-83AA-AC5042A66050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3E252A2B-0D36-46A3-A66A-C1F4E2709A07}" type="pres">
      <dgm:prSet presAssocID="{84DF93B6-1233-4492-83AA-AC5042A66050}" presName="desTx" presStyleLbl="alignAccFollowNode1" presStyleIdx="1" presStyleCnt="3">
        <dgm:presLayoutVars>
          <dgm:bulletEnabled val="1"/>
        </dgm:presLayoutVars>
      </dgm:prSet>
      <dgm:spPr/>
    </dgm:pt>
    <dgm:pt modelId="{E4FBAA75-C20E-49E2-A6D1-182BB6BDE938}" type="pres">
      <dgm:prSet presAssocID="{69CB03B0-22EC-4933-8BE0-EC649E5623C3}" presName="space" presStyleCnt="0"/>
      <dgm:spPr/>
    </dgm:pt>
    <dgm:pt modelId="{DBB39006-374B-4451-926E-8083DB5CB192}" type="pres">
      <dgm:prSet presAssocID="{F4E80FC8-829B-4064-81A7-51799D8C60E4}" presName="composite" presStyleCnt="0"/>
      <dgm:spPr/>
    </dgm:pt>
    <dgm:pt modelId="{2158D254-E139-46C0-B7E1-E01A8E4F73F7}" type="pres">
      <dgm:prSet presAssocID="{F4E80FC8-829B-4064-81A7-51799D8C60E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895BCE50-89C3-4D30-8961-E08C3676F841}" type="pres">
      <dgm:prSet presAssocID="{F4E80FC8-829B-4064-81A7-51799D8C60E4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E1A35003-91BC-4585-8224-F827F02F5055}" srcId="{02EBD85D-643E-4955-A49C-FF98B194119D}" destId="{11FA53FE-F03B-403F-A5E2-D6D02DE50B85}" srcOrd="1" destOrd="0" parTransId="{CBF641BE-091C-4F02-BF1B-4888C02FD9A6}" sibTransId="{0505EA06-7FBE-486B-B4F4-CB54873D01F2}"/>
    <dgm:cxn modelId="{DA5AA007-E070-49E5-AE5A-60DA3A4509F0}" srcId="{F4E80FC8-829B-4064-81A7-51799D8C60E4}" destId="{CDFD1D2A-993B-4C96-819F-DA0D1E52EBEA}" srcOrd="1" destOrd="0" parTransId="{97A1378A-1825-474F-BE72-BAE5D5EE2BE0}" sibTransId="{3D840EC3-3569-4A18-88D7-DB4F2E3CBE54}"/>
    <dgm:cxn modelId="{33B2D111-0B16-4C37-B412-AF2F0CC8F7D8}" srcId="{84DF93B6-1233-4492-83AA-AC5042A66050}" destId="{E31397EF-DEC2-466F-9E5E-8998AE67FBBD}" srcOrd="6" destOrd="0" parTransId="{65C4351F-8CFD-4B3B-A6E5-6660F27C68D8}" sibTransId="{AB537331-F1E7-4770-8230-E20F6CD13C2C}"/>
    <dgm:cxn modelId="{FFD7E312-E8DB-4FFB-9772-1DE6ECF7A7CE}" type="presOf" srcId="{7D932054-BFCD-4D9C-8011-FE2559E0BD33}" destId="{895BCE50-89C3-4D30-8961-E08C3676F841}" srcOrd="0" destOrd="0" presId="urn:microsoft.com/office/officeart/2005/8/layout/hList1"/>
    <dgm:cxn modelId="{4BA6AA19-A9CF-43A2-AFEE-AD47EFA56BDB}" type="presOf" srcId="{04EC3370-9C28-4BFF-B900-6381F4B92924}" destId="{3E252A2B-0D36-46A3-A66A-C1F4E2709A07}" srcOrd="0" destOrd="5" presId="urn:microsoft.com/office/officeart/2005/8/layout/hList1"/>
    <dgm:cxn modelId="{03378E22-1A37-407C-A68A-9B6685F035B1}" type="presOf" srcId="{F4E80FC8-829B-4064-81A7-51799D8C60E4}" destId="{2158D254-E139-46C0-B7E1-E01A8E4F73F7}" srcOrd="0" destOrd="0" presId="urn:microsoft.com/office/officeart/2005/8/layout/hList1"/>
    <dgm:cxn modelId="{AA15473D-A050-400F-90D5-9F528756D567}" type="presOf" srcId="{D4C10638-EA76-4BA0-B078-0D16830DD2A0}" destId="{9F685903-C1AD-4858-B641-640809598C6A}" srcOrd="0" destOrd="3" presId="urn:microsoft.com/office/officeart/2005/8/layout/hList1"/>
    <dgm:cxn modelId="{67B6863D-24AB-4EAF-936F-B03D26CFEB06}" srcId="{84DF93B6-1233-4492-83AA-AC5042A66050}" destId="{5395377F-1289-495F-AB0A-995826A39673}" srcOrd="1" destOrd="0" parTransId="{B95E67E0-BC3F-4FE0-A860-8EEAD69A983B}" sibTransId="{55BAC9DC-0243-470D-A7B6-8CA6E5590020}"/>
    <dgm:cxn modelId="{16701F3F-6893-42BD-9C0F-8D99D11D44EE}" type="presOf" srcId="{84DF93B6-1233-4492-83AA-AC5042A66050}" destId="{9830A9CF-36CC-4B99-916E-AA8C51BAFFC7}" srcOrd="0" destOrd="0" presId="urn:microsoft.com/office/officeart/2005/8/layout/hList1"/>
    <dgm:cxn modelId="{CF89C766-FC4E-44FC-9445-74306367B6CD}" srcId="{F4E80FC8-829B-4064-81A7-51799D8C60E4}" destId="{7D932054-BFCD-4D9C-8011-FE2559E0BD33}" srcOrd="0" destOrd="0" parTransId="{2735B3FD-B9A7-4246-9F6B-8A333EB41DCF}" sibTransId="{8917F9C8-2200-4050-8322-50B360227950}"/>
    <dgm:cxn modelId="{23FC1A6A-950D-41E2-81DE-CD54C4588901}" srcId="{84DF93B6-1233-4492-83AA-AC5042A66050}" destId="{4B5F7844-D072-4640-938A-AEBA16398480}" srcOrd="2" destOrd="0" parTransId="{FFBA6CA5-CE3C-4E36-8673-518FE0DC4834}" sibTransId="{3213535C-3A75-4A0B-8403-40419D54DD21}"/>
    <dgm:cxn modelId="{EF7D546E-A55E-41E1-AA0D-1E7324C499CD}" srcId="{02EBD85D-643E-4955-A49C-FF98B194119D}" destId="{7CF97679-2A7E-42FB-9C57-718471CF5577}" srcOrd="2" destOrd="0" parTransId="{57D4392D-A3EF-4C60-A7AB-AECBCC3F3454}" sibTransId="{6061B681-E386-4CAF-AEB5-FC717FF5EE78}"/>
    <dgm:cxn modelId="{74291170-1E95-499A-8B56-0F86AF6EDF8E}" type="presOf" srcId="{B584AB90-FDA6-49E7-B276-11F73EB4092D}" destId="{895BCE50-89C3-4D30-8961-E08C3676F841}" srcOrd="0" destOrd="4" presId="urn:microsoft.com/office/officeart/2005/8/layout/hList1"/>
    <dgm:cxn modelId="{EE989652-75A3-4442-BCF6-D3FE6963F2B1}" srcId="{F4E80FC8-829B-4064-81A7-51799D8C60E4}" destId="{B584AB90-FDA6-49E7-B276-11F73EB4092D}" srcOrd="4" destOrd="0" parTransId="{561FBAF8-69AD-4014-9E00-615ADB683DC5}" sibTransId="{203B9EEE-CD45-4340-9CEE-6DE75AAB92E4}"/>
    <dgm:cxn modelId="{5E527053-9079-49B8-8C05-942A867A2E51}" srcId="{F4E80FC8-829B-4064-81A7-51799D8C60E4}" destId="{06E34F82-7E1C-47A9-AA40-6A9EF11A0563}" srcOrd="2" destOrd="0" parTransId="{738CC697-3662-4C75-B50E-4631870B76DE}" sibTransId="{97EA1091-54B6-424C-9527-11F989DCD182}"/>
    <dgm:cxn modelId="{DBAA7475-EF41-49E2-8C28-CDEFCF1F1875}" srcId="{84DF93B6-1233-4492-83AA-AC5042A66050}" destId="{04EC3370-9C28-4BFF-B900-6381F4B92924}" srcOrd="5" destOrd="0" parTransId="{0C04E596-8343-4946-9168-7C332C2692C2}" sibTransId="{A10B0A4F-38EE-49FB-847A-13D542161ACA}"/>
    <dgm:cxn modelId="{CB6A8A55-ED5E-40A7-BD5E-8DB1051B86BE}" type="presOf" srcId="{02EBD85D-643E-4955-A49C-FF98B194119D}" destId="{E1619292-3094-4735-AAEB-4FFBA2953AFD}" srcOrd="0" destOrd="0" presId="urn:microsoft.com/office/officeart/2005/8/layout/hList1"/>
    <dgm:cxn modelId="{884C717D-3D56-46C9-91A3-3F1C432E2C7C}" srcId="{02EBD85D-643E-4955-A49C-FF98B194119D}" destId="{8C63DB4B-DBA2-4535-9CF0-29FCCFCF58DF}" srcOrd="4" destOrd="0" parTransId="{834644B2-FF42-4428-9937-C48E13BD7BD1}" sibTransId="{632B75D3-92B2-4711-B695-66E8EF51E087}"/>
    <dgm:cxn modelId="{577D1D7F-9542-4122-95C9-CFF76615EC2E}" type="presOf" srcId="{5395377F-1289-495F-AB0A-995826A39673}" destId="{3E252A2B-0D36-46A3-A66A-C1F4E2709A07}" srcOrd="0" destOrd="1" presId="urn:microsoft.com/office/officeart/2005/8/layout/hList1"/>
    <dgm:cxn modelId="{EC944480-3B72-49E9-959B-B6FD6091835E}" srcId="{F4E80FC8-829B-4064-81A7-51799D8C60E4}" destId="{E933EE47-8D57-43FE-97E6-084F04631DE9}" srcOrd="3" destOrd="0" parTransId="{93A2651B-625C-4250-96BF-9F7C0F160EAE}" sibTransId="{7BD0F76F-3BEC-4433-8106-74A25CC70CA6}"/>
    <dgm:cxn modelId="{5E6A1482-448C-4A2F-A2BF-712412164C13}" type="presOf" srcId="{9429BA32-921E-47DC-A950-DCF9C9641467}" destId="{3E252A2B-0D36-46A3-A66A-C1F4E2709A07}" srcOrd="0" destOrd="3" presId="urn:microsoft.com/office/officeart/2005/8/layout/hList1"/>
    <dgm:cxn modelId="{43B25A83-D209-4C7B-908F-02BC762786E9}" type="presOf" srcId="{4B5F7844-D072-4640-938A-AEBA16398480}" destId="{3E252A2B-0D36-46A3-A66A-C1F4E2709A07}" srcOrd="0" destOrd="2" presId="urn:microsoft.com/office/officeart/2005/8/layout/hList1"/>
    <dgm:cxn modelId="{9AAFE486-1373-43A2-98A9-34B902EA8503}" type="presOf" srcId="{3AC98096-CCAB-4F9F-B758-4B077BA253A7}" destId="{C6D43647-805E-4CE0-8D75-C7D68A11AB83}" srcOrd="0" destOrd="0" presId="urn:microsoft.com/office/officeart/2005/8/layout/hList1"/>
    <dgm:cxn modelId="{3978EB87-6996-4968-B149-871ECDC7CA97}" type="presOf" srcId="{DBCDF8A0-D0AE-4AA1-AB60-C0B12CA17101}" destId="{3E252A2B-0D36-46A3-A66A-C1F4E2709A07}" srcOrd="0" destOrd="4" presId="urn:microsoft.com/office/officeart/2005/8/layout/hList1"/>
    <dgm:cxn modelId="{3A63D688-8A13-49A4-84C0-09C69BB937AF}" srcId="{02EBD85D-643E-4955-A49C-FF98B194119D}" destId="{D4C10638-EA76-4BA0-B078-0D16830DD2A0}" srcOrd="3" destOrd="0" parTransId="{1D6679C8-2AE7-470F-8A6C-2021914D3C69}" sibTransId="{0985C21F-5FB2-4908-A317-E801D2CA4EE7}"/>
    <dgm:cxn modelId="{FB58908C-4252-4EC8-8FA1-4DBA8230D9AD}" type="presOf" srcId="{11FA53FE-F03B-403F-A5E2-D6D02DE50B85}" destId="{9F685903-C1AD-4858-B641-640809598C6A}" srcOrd="0" destOrd="1" presId="urn:microsoft.com/office/officeart/2005/8/layout/hList1"/>
    <dgm:cxn modelId="{DE56CF8C-E0DC-46A6-9D0F-D5C6C014B7D8}" srcId="{84DF93B6-1233-4492-83AA-AC5042A66050}" destId="{6A03CA12-BFCD-474A-BD7E-1DDA77E70250}" srcOrd="0" destOrd="0" parTransId="{F59C5F64-95B0-418E-A55E-CEECC4725CAC}" sibTransId="{FD52F5F0-B037-4F87-8741-C2CF314B212B}"/>
    <dgm:cxn modelId="{BD331E94-9AB6-4A29-897F-0EECFD2EB83D}" srcId="{3AC98096-CCAB-4F9F-B758-4B077BA253A7}" destId="{02EBD85D-643E-4955-A49C-FF98B194119D}" srcOrd="0" destOrd="0" parTransId="{59A41FDF-B26B-4AB6-A442-01D365B0A042}" sibTransId="{EF7F370F-3135-49CC-A11A-9B9E6F9E4A32}"/>
    <dgm:cxn modelId="{F5002B95-081B-41A2-84C0-60023C3193DD}" type="presOf" srcId="{CDFD1D2A-993B-4C96-819F-DA0D1E52EBEA}" destId="{895BCE50-89C3-4D30-8961-E08C3676F841}" srcOrd="0" destOrd="1" presId="urn:microsoft.com/office/officeart/2005/8/layout/hList1"/>
    <dgm:cxn modelId="{CDE5B298-8A5D-482B-AD66-CDFC0906218D}" type="presOf" srcId="{54A374FD-FD35-4123-8CE4-86631088DA71}" destId="{9F685903-C1AD-4858-B641-640809598C6A}" srcOrd="0" destOrd="0" presId="urn:microsoft.com/office/officeart/2005/8/layout/hList1"/>
    <dgm:cxn modelId="{90D1B6A0-7CAF-430A-B19A-70F21CB99E0C}" type="presOf" srcId="{E933EE47-8D57-43FE-97E6-084F04631DE9}" destId="{895BCE50-89C3-4D30-8961-E08C3676F841}" srcOrd="0" destOrd="3" presId="urn:microsoft.com/office/officeart/2005/8/layout/hList1"/>
    <dgm:cxn modelId="{F6C7CDA4-6286-45CC-B207-3CDD7999FF77}" type="presOf" srcId="{7CF97679-2A7E-42FB-9C57-718471CF5577}" destId="{9F685903-C1AD-4858-B641-640809598C6A}" srcOrd="0" destOrd="2" presId="urn:microsoft.com/office/officeart/2005/8/layout/hList1"/>
    <dgm:cxn modelId="{A623D8A9-9631-42B8-BFC0-99BF7A2EC862}" srcId="{84DF93B6-1233-4492-83AA-AC5042A66050}" destId="{9429BA32-921E-47DC-A950-DCF9C9641467}" srcOrd="3" destOrd="0" parTransId="{655178BA-7474-42D2-9ECD-93C96FFE8252}" sibTransId="{528405B1-0DDB-4FDA-B22F-F12C63245C60}"/>
    <dgm:cxn modelId="{F9E9AAAC-0CCC-4CC3-AFA9-D1B813E972A4}" type="presOf" srcId="{6A03CA12-BFCD-474A-BD7E-1DDA77E70250}" destId="{3E252A2B-0D36-46A3-A66A-C1F4E2709A07}" srcOrd="0" destOrd="0" presId="urn:microsoft.com/office/officeart/2005/8/layout/hList1"/>
    <dgm:cxn modelId="{3537D2AE-FB60-41AF-91F6-BA414CEC0D33}" type="presOf" srcId="{06E34F82-7E1C-47A9-AA40-6A9EF11A0563}" destId="{895BCE50-89C3-4D30-8961-E08C3676F841}" srcOrd="0" destOrd="2" presId="urn:microsoft.com/office/officeart/2005/8/layout/hList1"/>
    <dgm:cxn modelId="{DBD225B6-FAE0-4E5D-AE38-2122539981E5}" srcId="{02EBD85D-643E-4955-A49C-FF98B194119D}" destId="{54A374FD-FD35-4123-8CE4-86631088DA71}" srcOrd="0" destOrd="0" parTransId="{01577502-6B38-4CAB-B2F9-1F02B4767255}" sibTransId="{53332831-37E4-4492-AF86-7813E0D2B24A}"/>
    <dgm:cxn modelId="{611DB9D3-834F-4DD1-918A-2DDE6E58059B}" srcId="{84DF93B6-1233-4492-83AA-AC5042A66050}" destId="{DBCDF8A0-D0AE-4AA1-AB60-C0B12CA17101}" srcOrd="4" destOrd="0" parTransId="{C55FFAD2-B338-40B9-984B-DE2BC1E8C67D}" sibTransId="{EFE9FF9D-B040-478A-BC35-29B5451F0991}"/>
    <dgm:cxn modelId="{2043B3D4-CADC-4662-BA8B-9C6D1490254E}" type="presOf" srcId="{E31397EF-DEC2-466F-9E5E-8998AE67FBBD}" destId="{3E252A2B-0D36-46A3-A66A-C1F4E2709A07}" srcOrd="0" destOrd="6" presId="urn:microsoft.com/office/officeart/2005/8/layout/hList1"/>
    <dgm:cxn modelId="{06403FDA-D982-4B04-86DA-56CD0F5AD633}" srcId="{3AC98096-CCAB-4F9F-B758-4B077BA253A7}" destId="{F4E80FC8-829B-4064-81A7-51799D8C60E4}" srcOrd="2" destOrd="0" parTransId="{7D2EDDD3-CCAF-4D83-A1A4-2886707BC1D1}" sibTransId="{DAC3D59B-E172-4A94-BDF0-6F41DB94F46E}"/>
    <dgm:cxn modelId="{03B3F9E0-953E-4391-8C54-190A583B498C}" srcId="{3AC98096-CCAB-4F9F-B758-4B077BA253A7}" destId="{84DF93B6-1233-4492-83AA-AC5042A66050}" srcOrd="1" destOrd="0" parTransId="{EC929E38-4840-4B64-A6AE-5753098C017D}" sibTransId="{69CB03B0-22EC-4933-8BE0-EC649E5623C3}"/>
    <dgm:cxn modelId="{B1B385EF-F6CA-47BB-93E4-24B36590AC6D}" type="presOf" srcId="{8C63DB4B-DBA2-4535-9CF0-29FCCFCF58DF}" destId="{9F685903-C1AD-4858-B641-640809598C6A}" srcOrd="0" destOrd="4" presId="urn:microsoft.com/office/officeart/2005/8/layout/hList1"/>
    <dgm:cxn modelId="{4CAD200B-8B67-4FD7-B050-73B59BFDA70F}" type="presParOf" srcId="{C6D43647-805E-4CE0-8D75-C7D68A11AB83}" destId="{5199BC80-0F10-427D-994B-F16123E9A8C4}" srcOrd="0" destOrd="0" presId="urn:microsoft.com/office/officeart/2005/8/layout/hList1"/>
    <dgm:cxn modelId="{1812623C-1525-427D-AF08-FAEB4C151203}" type="presParOf" srcId="{5199BC80-0F10-427D-994B-F16123E9A8C4}" destId="{E1619292-3094-4735-AAEB-4FFBA2953AFD}" srcOrd="0" destOrd="0" presId="urn:microsoft.com/office/officeart/2005/8/layout/hList1"/>
    <dgm:cxn modelId="{DD32AE77-67E1-4F0A-BC1D-82FDC1E63581}" type="presParOf" srcId="{5199BC80-0F10-427D-994B-F16123E9A8C4}" destId="{9F685903-C1AD-4858-B641-640809598C6A}" srcOrd="1" destOrd="0" presId="urn:microsoft.com/office/officeart/2005/8/layout/hList1"/>
    <dgm:cxn modelId="{2F386045-FA2D-4DC1-94C4-D86611CF81C0}" type="presParOf" srcId="{C6D43647-805E-4CE0-8D75-C7D68A11AB83}" destId="{7BCC76C8-F95B-432B-BFB4-D0530B76AB5F}" srcOrd="1" destOrd="0" presId="urn:microsoft.com/office/officeart/2005/8/layout/hList1"/>
    <dgm:cxn modelId="{AAA89A41-B391-48ED-A4DA-E326953BC6BD}" type="presParOf" srcId="{C6D43647-805E-4CE0-8D75-C7D68A11AB83}" destId="{40245D5F-ADDD-44AC-B120-AF5FB6044408}" srcOrd="2" destOrd="0" presId="urn:microsoft.com/office/officeart/2005/8/layout/hList1"/>
    <dgm:cxn modelId="{85AD12F5-0899-4D70-855F-1FD723FEF677}" type="presParOf" srcId="{40245D5F-ADDD-44AC-B120-AF5FB6044408}" destId="{9830A9CF-36CC-4B99-916E-AA8C51BAFFC7}" srcOrd="0" destOrd="0" presId="urn:microsoft.com/office/officeart/2005/8/layout/hList1"/>
    <dgm:cxn modelId="{6488D67D-80B9-4601-8E82-903896C5D889}" type="presParOf" srcId="{40245D5F-ADDD-44AC-B120-AF5FB6044408}" destId="{3E252A2B-0D36-46A3-A66A-C1F4E2709A07}" srcOrd="1" destOrd="0" presId="urn:microsoft.com/office/officeart/2005/8/layout/hList1"/>
    <dgm:cxn modelId="{8FDB344D-5527-4633-8DD3-833C969083B5}" type="presParOf" srcId="{C6D43647-805E-4CE0-8D75-C7D68A11AB83}" destId="{E4FBAA75-C20E-49E2-A6D1-182BB6BDE938}" srcOrd="3" destOrd="0" presId="urn:microsoft.com/office/officeart/2005/8/layout/hList1"/>
    <dgm:cxn modelId="{830F88BD-9315-44CC-9005-CD09F718E2AD}" type="presParOf" srcId="{C6D43647-805E-4CE0-8D75-C7D68A11AB83}" destId="{DBB39006-374B-4451-926E-8083DB5CB192}" srcOrd="4" destOrd="0" presId="urn:microsoft.com/office/officeart/2005/8/layout/hList1"/>
    <dgm:cxn modelId="{71DE025A-2C28-452F-AE76-C810A69BA6CF}" type="presParOf" srcId="{DBB39006-374B-4451-926E-8083DB5CB192}" destId="{2158D254-E139-46C0-B7E1-E01A8E4F73F7}" srcOrd="0" destOrd="0" presId="urn:microsoft.com/office/officeart/2005/8/layout/hList1"/>
    <dgm:cxn modelId="{24CF8BA2-1B7A-4FFB-B408-0E1457544008}" type="presParOf" srcId="{DBB39006-374B-4451-926E-8083DB5CB192}" destId="{895BCE50-89C3-4D30-8961-E08C3676F8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Group 1"/>
      <dsp:cNvGrpSpPr/>
    </dsp:nvGrpSpPr>
    <dsp:grpSpPr>
      <a:xfrm>
        <a:off x="0" y="0"/>
        <a:ext cx="10515600" cy="5048250"/>
        <a:chOff x="0" y="0"/>
        <a:chExt cx="10515600" cy="5048250"/>
      </a:xfrm>
    </dsp:grpSpPr>
    <dsp:sp modelId="{1F7198CC-6C29-40B2-B8E9-5D4DE4D51233}">
      <dsp:nvSpPr>
        <dsp:cNvPr id="3" name="Rectangles 2"/>
        <dsp:cNvSpPr/>
      </dsp:nvSpPr>
      <dsp:spPr bwMode="white">
        <a:xfrm>
          <a:off x="0" y="265430"/>
          <a:ext cx="3205976" cy="579755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06680" tIns="60960" rIns="106680" bIns="60960" anchor="ctr"/>
        <a:lstStyle>
          <a:lvl1pPr algn="ctr">
            <a:defRPr sz="1500"/>
          </a:lvl1pPr>
          <a:lvl2pPr marL="57150" indent="-57150" algn="ctr">
            <a:defRPr sz="1100"/>
          </a:lvl2pPr>
          <a:lvl3pPr marL="114300" indent="-57150" algn="ctr">
            <a:defRPr sz="1100"/>
          </a:lvl3pPr>
          <a:lvl4pPr marL="171450" indent="-57150" algn="ctr">
            <a:defRPr sz="1100"/>
          </a:lvl4pPr>
          <a:lvl5pPr marL="228600" indent="-57150" algn="ctr">
            <a:defRPr sz="1100"/>
          </a:lvl5pPr>
          <a:lvl6pPr marL="285750" indent="-57150" algn="ctr">
            <a:defRPr sz="1100"/>
          </a:lvl6pPr>
          <a:lvl7pPr marL="342900" indent="-57150" algn="ctr">
            <a:defRPr sz="1100"/>
          </a:lvl7pPr>
          <a:lvl8pPr marL="400050" indent="-57150" algn="ctr">
            <a:defRPr sz="1100"/>
          </a:lvl8pPr>
          <a:lvl9pPr marL="457200" indent="-57150" algn="ctr">
            <a:defRPr sz="11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IN" b="1" dirty="0"/>
            <a:t>Completed Activities:</a:t>
          </a:r>
        </a:p>
      </dsp:txBody>
      <dsp:txXfrm>
        <a:off x="0" y="265430"/>
        <a:ext cx="3205976" cy="579755"/>
      </dsp:txXfrm>
    </dsp:sp>
    <dsp:sp modelId="{C1C4A1CD-59D4-48FF-BE23-171399B6D7F9}">
      <dsp:nvSpPr>
        <dsp:cNvPr id="4" name="Rectangles 3"/>
        <dsp:cNvSpPr/>
      </dsp:nvSpPr>
      <dsp:spPr bwMode="white">
        <a:xfrm>
          <a:off x="0" y="845185"/>
          <a:ext cx="3205976" cy="3937635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vert="horz" wrap="square" lIns="80010" tIns="80010" rIns="106680" bIns="120014" anchor="t"/>
        <a:lstStyle>
          <a:lvl1pPr algn="l">
            <a:defRPr sz="1500"/>
          </a:lvl1pPr>
          <a:lvl2pPr marL="114300" indent="-114300" algn="l">
            <a:defRPr sz="1500"/>
          </a:lvl2pPr>
          <a:lvl3pPr marL="228600" indent="-114300" algn="l">
            <a:defRPr sz="1500"/>
          </a:lvl3pPr>
          <a:lvl4pPr marL="342900" indent="-114300" algn="l">
            <a:defRPr sz="1500"/>
          </a:lvl4pPr>
          <a:lvl5pPr marL="457200" indent="-114300" algn="l">
            <a:defRPr sz="1500"/>
          </a:lvl5pPr>
          <a:lvl6pPr marL="571500" indent="-114300" algn="l">
            <a:defRPr sz="1500"/>
          </a:lvl6pPr>
          <a:lvl7pPr marL="685800" indent="-114300" algn="l">
            <a:defRPr sz="1500"/>
          </a:lvl7pPr>
          <a:lvl8pPr marL="800100" indent="-114300" algn="l">
            <a:defRPr sz="1500"/>
          </a:lvl8pPr>
          <a:lvl9pPr marL="914400" indent="-114300" algn="l">
            <a:defRPr sz="15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>
              <a:solidFill>
                <a:schemeClr val="dk1"/>
              </a:solidFill>
            </a:rPr>
            <a:t>Time Off Management</a:t>
          </a:r>
          <a:r>
            <a:rPr lang="en-US">
              <a:solidFill>
                <a:schemeClr val="dk1"/>
              </a:solidFill>
            </a:rPr>
            <a:t>: Worked on the development and refinement of time-off policies and processes.</a:t>
          </a:r>
          <a:endParaRPr lang="en-IN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>
              <a:solidFill>
                <a:schemeClr val="dk1"/>
              </a:solidFill>
            </a:rPr>
            <a:t>Company Structure Definition:</a:t>
          </a:r>
          <a:r>
            <a:rPr lang="en-US">
              <a:solidFill>
                <a:schemeClr val="dk1"/>
              </a:solidFill>
            </a:rPr>
            <a:t> Completed the definition of the company’s organizational structure, ensuring alignment with business goals and operational needs.</a:t>
          </a:r>
          <a:endParaRPr 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Business Rules Definition:</a:t>
          </a:r>
          <a:r>
            <a:rPr lang="en-US" dirty="0">
              <a:solidFill>
                <a:schemeClr val="dk1"/>
              </a:solidFill>
            </a:rPr>
            <a:t> Defined and documented key business rules to support operational workflows and ensure compliance with organizational standards.</a:t>
          </a:r>
          <a:endParaRPr>
            <a:solidFill>
              <a:schemeClr val="dk1"/>
            </a:solidFill>
          </a:endParaRPr>
        </a:p>
      </dsp:txBody>
      <dsp:txXfrm>
        <a:off x="0" y="845185"/>
        <a:ext cx="3205976" cy="3937635"/>
      </dsp:txXfrm>
    </dsp:sp>
    <dsp:sp modelId="{BE0187FE-C5E3-49A0-AC46-C2038B73A996}">
      <dsp:nvSpPr>
        <dsp:cNvPr id="5" name="Rectangles 4"/>
        <dsp:cNvSpPr/>
      </dsp:nvSpPr>
      <dsp:spPr bwMode="white">
        <a:xfrm>
          <a:off x="3654812" y="265430"/>
          <a:ext cx="3205976" cy="579755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06680" tIns="60960" rIns="106680" bIns="60960" anchor="ctr"/>
        <a:lstStyle>
          <a:lvl1pPr algn="ctr">
            <a:defRPr sz="1500"/>
          </a:lvl1pPr>
          <a:lvl2pPr marL="57150" indent="-57150" algn="ctr">
            <a:defRPr sz="1100"/>
          </a:lvl2pPr>
          <a:lvl3pPr marL="114300" indent="-57150" algn="ctr">
            <a:defRPr sz="1100"/>
          </a:lvl3pPr>
          <a:lvl4pPr marL="171450" indent="-57150" algn="ctr">
            <a:defRPr sz="1100"/>
          </a:lvl4pPr>
          <a:lvl5pPr marL="228600" indent="-57150" algn="ctr">
            <a:defRPr sz="1100"/>
          </a:lvl5pPr>
          <a:lvl6pPr marL="285750" indent="-57150" algn="ctr">
            <a:defRPr sz="1100"/>
          </a:lvl6pPr>
          <a:lvl7pPr marL="342900" indent="-57150" algn="ctr">
            <a:defRPr sz="1100"/>
          </a:lvl7pPr>
          <a:lvl8pPr marL="400050" indent="-57150" algn="ctr">
            <a:defRPr sz="1100"/>
          </a:lvl8pPr>
          <a:lvl9pPr marL="457200" indent="-57150" algn="ctr">
            <a:defRPr sz="11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IN" b="1" dirty="0"/>
            <a:t>Current Activity:</a:t>
          </a:r>
        </a:p>
      </dsp:txBody>
      <dsp:txXfrm>
        <a:off x="3654812" y="265430"/>
        <a:ext cx="3205976" cy="579755"/>
      </dsp:txXfrm>
    </dsp:sp>
    <dsp:sp modelId="{7C7199FD-FABB-4912-87E2-32A0C344BE77}">
      <dsp:nvSpPr>
        <dsp:cNvPr id="6" name="Rectangles 5"/>
        <dsp:cNvSpPr/>
      </dsp:nvSpPr>
      <dsp:spPr bwMode="white">
        <a:xfrm>
          <a:off x="3654812" y="845185"/>
          <a:ext cx="3205976" cy="3937635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80010" tIns="80010" rIns="106680" bIns="120014" anchor="t"/>
        <a:lstStyle>
          <a:lvl1pPr algn="l">
            <a:defRPr sz="1500"/>
          </a:lvl1pPr>
          <a:lvl2pPr marL="114300" indent="-114300" algn="l">
            <a:defRPr sz="1500"/>
          </a:lvl2pPr>
          <a:lvl3pPr marL="228600" indent="-114300" algn="l">
            <a:defRPr sz="1500"/>
          </a:lvl3pPr>
          <a:lvl4pPr marL="342900" indent="-114300" algn="l">
            <a:defRPr sz="1500"/>
          </a:lvl4pPr>
          <a:lvl5pPr marL="457200" indent="-114300" algn="l">
            <a:defRPr sz="1500"/>
          </a:lvl5pPr>
          <a:lvl6pPr marL="571500" indent="-114300" algn="l">
            <a:defRPr sz="1500"/>
          </a:lvl6pPr>
          <a:lvl7pPr marL="685800" indent="-114300" algn="l">
            <a:defRPr sz="1500"/>
          </a:lvl7pPr>
          <a:lvl8pPr marL="800100" indent="-114300" algn="l">
            <a:defRPr sz="1500"/>
          </a:lvl8pPr>
          <a:lvl9pPr marL="914400" indent="-114300" algn="l">
            <a:defRPr sz="15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Additional Requirements:</a:t>
          </a:r>
          <a:r>
            <a:rPr lang="en-US" dirty="0">
              <a:solidFill>
                <a:schemeClr val="dk1"/>
              </a:solidFill>
            </a:rPr>
            <a:t> Successfully addressed and completed additional requirements discussed in the recent meeting, ensuring timely resolution of outstanding items</a:t>
          </a:r>
          <a:r>
            <a:rPr lang="en-IN" dirty="0">
              <a:solidFill>
                <a:schemeClr val="dk1"/>
              </a:solidFill>
            </a:rPr>
            <a:t>.</a:t>
          </a:r>
          <a:endParaRPr lang="en-IN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IN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Employee Data Upload:</a:t>
          </a:r>
          <a:r>
            <a:rPr lang="en-US" dirty="0">
              <a:solidFill>
                <a:schemeClr val="dk1"/>
              </a:solidFill>
            </a:rPr>
            <a:t> Begin preparations for the employee data upload, ensuring accuracy and completeness of all relevant information.</a:t>
          </a:r>
          <a:endParaRPr lang="en-IN" dirty="0">
            <a:solidFill>
              <a:schemeClr val="dk1"/>
            </a:solidFill>
          </a:endParaRPr>
        </a:p>
      </dsp:txBody>
      <dsp:txXfrm>
        <a:off x="3654812" y="845185"/>
        <a:ext cx="3205976" cy="3937635"/>
      </dsp:txXfrm>
    </dsp:sp>
    <dsp:sp modelId="{908D13E4-3FE3-46A8-9F79-EE490757C6E8}">
      <dsp:nvSpPr>
        <dsp:cNvPr id="7" name="Rectangles 6"/>
        <dsp:cNvSpPr/>
      </dsp:nvSpPr>
      <dsp:spPr bwMode="white">
        <a:xfrm>
          <a:off x="7309624" y="265430"/>
          <a:ext cx="3205976" cy="579755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06680" tIns="60960" rIns="106680" bIns="60960" anchor="ctr"/>
        <a:lstStyle>
          <a:lvl1pPr algn="ctr">
            <a:defRPr sz="1500"/>
          </a:lvl1pPr>
          <a:lvl2pPr marL="57150" indent="-57150" algn="ctr">
            <a:defRPr sz="1100"/>
          </a:lvl2pPr>
          <a:lvl3pPr marL="114300" indent="-57150" algn="ctr">
            <a:defRPr sz="1100"/>
          </a:lvl3pPr>
          <a:lvl4pPr marL="171450" indent="-57150" algn="ctr">
            <a:defRPr sz="1100"/>
          </a:lvl4pPr>
          <a:lvl5pPr marL="228600" indent="-57150" algn="ctr">
            <a:defRPr sz="1100"/>
          </a:lvl5pPr>
          <a:lvl6pPr marL="285750" indent="-57150" algn="ctr">
            <a:defRPr sz="1100"/>
          </a:lvl6pPr>
          <a:lvl7pPr marL="342900" indent="-57150" algn="ctr">
            <a:defRPr sz="1100"/>
          </a:lvl7pPr>
          <a:lvl8pPr marL="400050" indent="-57150" algn="ctr">
            <a:defRPr sz="1100"/>
          </a:lvl8pPr>
          <a:lvl9pPr marL="457200" indent="-57150" algn="ctr">
            <a:defRPr sz="11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b="1"/>
            <a:t>Planned Activities for Next Week:</a:t>
          </a:r>
          <a:endParaRPr lang="en-IN"/>
        </a:p>
      </dsp:txBody>
      <dsp:txXfrm>
        <a:off x="7309624" y="265430"/>
        <a:ext cx="3205976" cy="579755"/>
      </dsp:txXfrm>
    </dsp:sp>
    <dsp:sp modelId="{68DC9553-BEA5-461A-9398-0757D03FCA05}">
      <dsp:nvSpPr>
        <dsp:cNvPr id="8" name="Rectangles 7"/>
        <dsp:cNvSpPr/>
      </dsp:nvSpPr>
      <dsp:spPr bwMode="white">
        <a:xfrm>
          <a:off x="7309624" y="845185"/>
          <a:ext cx="3205976" cy="3937635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80010" tIns="80010" rIns="106680" bIns="120014" anchor="t"/>
        <a:lstStyle>
          <a:lvl1pPr algn="l">
            <a:defRPr sz="1500"/>
          </a:lvl1pPr>
          <a:lvl2pPr marL="114300" indent="-114300" algn="l">
            <a:defRPr sz="1500"/>
          </a:lvl2pPr>
          <a:lvl3pPr marL="228600" indent="-114300" algn="l">
            <a:defRPr sz="1500"/>
          </a:lvl3pPr>
          <a:lvl4pPr marL="342900" indent="-114300" algn="l">
            <a:defRPr sz="1500"/>
          </a:lvl4pPr>
          <a:lvl5pPr marL="457200" indent="-114300" algn="l">
            <a:defRPr sz="1500"/>
          </a:lvl5pPr>
          <a:lvl6pPr marL="571500" indent="-114300" algn="l">
            <a:defRPr sz="1500"/>
          </a:lvl6pPr>
          <a:lvl7pPr marL="685800" indent="-114300" algn="l">
            <a:defRPr sz="1500"/>
          </a:lvl7pPr>
          <a:lvl8pPr marL="800100" indent="-114300" algn="l">
            <a:defRPr sz="1500"/>
          </a:lvl8pPr>
          <a:lvl9pPr marL="914400" indent="-114300" algn="l">
            <a:defRPr sz="15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Pay Structure:</a:t>
          </a:r>
          <a:r>
            <a:rPr lang="en-US" dirty="0">
              <a:solidFill>
                <a:schemeClr val="dk1"/>
              </a:solidFill>
            </a:rPr>
            <a:t> Develop and finalize the company’s pay structure, ensuring alignment with compensation policies.</a:t>
          </a:r>
          <a:endParaRPr lang="en-IN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Position Upload:</a:t>
          </a:r>
          <a:r>
            <a:rPr lang="en-US" dirty="0">
              <a:solidFill>
                <a:schemeClr val="dk1"/>
              </a:solidFill>
            </a:rPr>
            <a:t> Work on the upload of position data, ensuring correct mapping of roles to organizational structure.</a:t>
          </a:r>
          <a:endParaRPr lang="en-US" dirty="0">
            <a:solidFill>
              <a:schemeClr val="dk1"/>
            </a:solidFill>
          </a:endParaRPr>
        </a:p>
        <a:p>
          <a:pPr lvl="1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b="1" dirty="0">
              <a:solidFill>
                <a:schemeClr val="dk1"/>
              </a:solidFill>
            </a:rPr>
            <a:t>Time Off Rule Development:</a:t>
          </a:r>
          <a:r>
            <a:rPr lang="en-US" dirty="0">
              <a:solidFill>
                <a:schemeClr val="dk1"/>
              </a:solidFill>
            </a:rPr>
            <a:t> Continue refining and finalizing time-off rules to ensure consistency and compliance across the organization.</a:t>
          </a:r>
          <a:endParaRPr>
            <a:solidFill>
              <a:schemeClr val="dk1"/>
            </a:solidFill>
          </a:endParaRPr>
        </a:p>
      </dsp:txBody>
      <dsp:txXfrm>
        <a:off x="7309624" y="845185"/>
        <a:ext cx="3205976" cy="39376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Group 1"/>
      <dsp:cNvGrpSpPr/>
    </dsp:nvGrpSpPr>
    <dsp:grpSpPr>
      <a:xfrm>
        <a:off x="0" y="0"/>
        <a:ext cx="10515600" cy="4438650"/>
        <a:chOff x="0" y="0"/>
        <a:chExt cx="10515600" cy="4438650"/>
      </a:xfrm>
    </dsp:grpSpPr>
    <dsp:sp modelId="{5B65544A-D39C-47FF-93B7-E5E1E3C6105F}">
      <dsp:nvSpPr>
        <dsp:cNvPr id="3" name="Rectangles 2"/>
        <dsp:cNvSpPr/>
      </dsp:nvSpPr>
      <dsp:spPr bwMode="white">
        <a:xfrm>
          <a:off x="0" y="150730"/>
          <a:ext cx="3205976" cy="128239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8016" tIns="73152" rIns="128016" bIns="7315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800" b="1"/>
            <a:t>Completed Activity:</a:t>
          </a:r>
          <a:endParaRPr lang="en-IN" sz="1800"/>
        </a:p>
      </dsp:txBody>
      <dsp:txXfrm>
        <a:off x="0" y="150730"/>
        <a:ext cx="3205976" cy="1282390"/>
      </dsp:txXfrm>
    </dsp:sp>
    <dsp:sp modelId="{014DC3B4-4BE0-458A-827A-5B26715CB1B2}">
      <dsp:nvSpPr>
        <dsp:cNvPr id="4" name="Rectangles 3"/>
        <dsp:cNvSpPr/>
      </dsp:nvSpPr>
      <dsp:spPr bwMode="white">
        <a:xfrm>
          <a:off x="0" y="1433120"/>
          <a:ext cx="3205976" cy="285480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vert="horz" wrap="square" lIns="96012" tIns="96012" rIns="128016" bIns="144018" anchor="t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marL="171450" lvl="1" indent="-171450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dirty="0">
              <a:solidFill>
                <a:schemeClr val="dk1"/>
              </a:solidFill>
            </a:rPr>
            <a:t>The workbook has been submitted to the business team and is now signed off by them on 06-Nov-24.</a:t>
          </a:r>
          <a:endParaRPr lang="en-IN" sz="1800" dirty="0">
            <a:solidFill>
              <a:schemeClr val="dk1"/>
            </a:solidFill>
          </a:endParaRPr>
        </a:p>
        <a:p>
          <a:pPr marL="171450" lvl="1" indent="-171450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dirty="0">
              <a:solidFill>
                <a:schemeClr val="dk1"/>
              </a:solidFill>
            </a:rPr>
            <a:t>Iteration is completed on 19</a:t>
          </a:r>
          <a:r>
            <a:rPr lang="en-US" sz="1800" baseline="30000" dirty="0">
              <a:solidFill>
                <a:schemeClr val="dk1"/>
              </a:solidFill>
            </a:rPr>
            <a:t>th</a:t>
          </a:r>
          <a:r>
            <a:rPr lang="en-US" sz="1800" dirty="0">
              <a:solidFill>
                <a:schemeClr val="dk1"/>
              </a:solidFill>
            </a:rPr>
            <a:t> Of December.</a:t>
          </a:r>
          <a:endParaRPr lang="en-IN" sz="1800" dirty="0">
            <a:solidFill>
              <a:schemeClr val="dk1"/>
            </a:solidFill>
          </a:endParaRPr>
        </a:p>
      </dsp:txBody>
      <dsp:txXfrm>
        <a:off x="0" y="1433120"/>
        <a:ext cx="3205976" cy="2854800"/>
      </dsp:txXfrm>
    </dsp:sp>
    <dsp:sp modelId="{A557A38B-B8A1-4C79-B353-045A87D839AA}">
      <dsp:nvSpPr>
        <dsp:cNvPr id="5" name="Rectangles 4"/>
        <dsp:cNvSpPr/>
      </dsp:nvSpPr>
      <dsp:spPr bwMode="white">
        <a:xfrm>
          <a:off x="3654812" y="150730"/>
          <a:ext cx="3205976" cy="128239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8016" tIns="73152" rIns="128016" bIns="7315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800" b="1"/>
            <a:t>This Week:</a:t>
          </a:r>
          <a:endParaRPr lang="en-IN" sz="1800"/>
        </a:p>
      </dsp:txBody>
      <dsp:txXfrm>
        <a:off x="3654812" y="150730"/>
        <a:ext cx="3205976" cy="1282390"/>
      </dsp:txXfrm>
    </dsp:sp>
    <dsp:sp modelId="{E150A34F-4BE8-4901-90AB-03AF0A164C3A}">
      <dsp:nvSpPr>
        <dsp:cNvPr id="6" name="Rectangles 5"/>
        <dsp:cNvSpPr/>
      </dsp:nvSpPr>
      <dsp:spPr bwMode="white">
        <a:xfrm>
          <a:off x="3654812" y="1433120"/>
          <a:ext cx="3205976" cy="285480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96012" tIns="96012" rIns="128016" bIns="144018" anchor="t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marL="171450" lvl="1" indent="-171450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dirty="0">
              <a:solidFill>
                <a:schemeClr val="dk1"/>
              </a:solidFill>
            </a:rPr>
            <a:t>System Configuration changes as per discussion during Iteration.</a:t>
          </a:r>
          <a:endParaRPr lang="en-IN" sz="1800" dirty="0">
            <a:solidFill>
              <a:schemeClr val="dk1"/>
            </a:solidFill>
          </a:endParaRPr>
        </a:p>
      </dsp:txBody>
      <dsp:txXfrm>
        <a:off x="3654812" y="1433120"/>
        <a:ext cx="3205976" cy="2854800"/>
      </dsp:txXfrm>
    </dsp:sp>
    <dsp:sp modelId="{03DA43B8-C84C-45E5-81D8-16FAB8C7E9E9}">
      <dsp:nvSpPr>
        <dsp:cNvPr id="7" name="Rectangles 6"/>
        <dsp:cNvSpPr/>
      </dsp:nvSpPr>
      <dsp:spPr bwMode="white">
        <a:xfrm>
          <a:off x="7309624" y="150730"/>
          <a:ext cx="3205976" cy="128239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128016" tIns="73152" rIns="128016" bIns="73152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800" b="1"/>
            <a:t>Planned Activities for next Week:</a:t>
          </a:r>
          <a:endParaRPr lang="en-IN" sz="1800"/>
        </a:p>
      </dsp:txBody>
      <dsp:txXfrm>
        <a:off x="7309624" y="150730"/>
        <a:ext cx="3205976" cy="1282390"/>
      </dsp:txXfrm>
    </dsp:sp>
    <dsp:sp modelId="{A88C74FC-7A33-4C4B-8B48-A4AF912317FC}">
      <dsp:nvSpPr>
        <dsp:cNvPr id="8" name="Rectangles 7"/>
        <dsp:cNvSpPr/>
      </dsp:nvSpPr>
      <dsp:spPr bwMode="white">
        <a:xfrm>
          <a:off x="7309624" y="1433120"/>
          <a:ext cx="3205976" cy="285480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96012" tIns="96012" rIns="128016" bIns="144018" anchor="t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marL="171450" lvl="1" indent="-171450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dirty="0">
              <a:solidFill>
                <a:schemeClr val="dk1"/>
              </a:solidFill>
            </a:rPr>
            <a:t>System demonstration to HCC team with changes captured during Iteration to take the Iteration signoff.</a:t>
          </a:r>
          <a:endParaRPr lang="en-IN" sz="1800" dirty="0">
            <a:solidFill>
              <a:schemeClr val="dk1"/>
            </a:solidFill>
          </a:endParaRPr>
        </a:p>
      </dsp:txBody>
      <dsp:txXfrm>
        <a:off x="7309624" y="1433120"/>
        <a:ext cx="3205976" cy="2854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Group 1"/>
      <dsp:cNvGrpSpPr/>
    </dsp:nvGrpSpPr>
    <dsp:grpSpPr>
      <a:xfrm>
        <a:off x="0" y="0"/>
        <a:ext cx="10515600" cy="4868333"/>
        <a:chOff x="0" y="0"/>
        <a:chExt cx="10515600" cy="4868333"/>
      </a:xfrm>
    </dsp:grpSpPr>
    <dsp:sp modelId="{E1619292-3094-4735-AAEB-4FFBA2953AFD}">
      <dsp:nvSpPr>
        <dsp:cNvPr id="3" name="Rectangles 2"/>
        <dsp:cNvSpPr/>
      </dsp:nvSpPr>
      <dsp:spPr bwMode="white">
        <a:xfrm>
          <a:off x="0" y="145321"/>
          <a:ext cx="3205976" cy="40320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99568" tIns="56896" rIns="99568" bIns="56896" anchor="ctr"/>
        <a:lstStyle>
          <a:lvl1pPr algn="ctr">
            <a:defRPr sz="14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b="1"/>
            <a:t>Completed Activities in this week:</a:t>
          </a:r>
          <a:endParaRPr lang="en-IN"/>
        </a:p>
      </dsp:txBody>
      <dsp:txXfrm>
        <a:off x="0" y="145321"/>
        <a:ext cx="3205976" cy="403200"/>
      </dsp:txXfrm>
    </dsp:sp>
    <dsp:sp modelId="{9F685903-C1AD-4858-B641-640809598C6A}">
      <dsp:nvSpPr>
        <dsp:cNvPr id="4" name="Rectangles 3"/>
        <dsp:cNvSpPr/>
      </dsp:nvSpPr>
      <dsp:spPr bwMode="white">
        <a:xfrm>
          <a:off x="0" y="548521"/>
          <a:ext cx="3205976" cy="417449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vert="horz" wrap="square" lIns="74676" tIns="74676" rIns="99568" bIns="112014" anchor="t"/>
        <a:lstStyle>
          <a:lvl1pPr algn="l">
            <a:defRPr sz="1400"/>
          </a:lvl1pPr>
          <a:lvl2pPr marL="114300" indent="-114300" algn="l">
            <a:defRPr sz="1400"/>
          </a:lvl2pPr>
          <a:lvl3pPr marL="228600" indent="-114300" algn="l">
            <a:defRPr sz="1400"/>
          </a:lvl3pPr>
          <a:lvl4pPr marL="342900" indent="-114300" algn="l">
            <a:defRPr sz="1400"/>
          </a:lvl4pPr>
          <a:lvl5pPr marL="457200" indent="-114300" algn="l">
            <a:defRPr sz="1400"/>
          </a:lvl5pPr>
          <a:lvl6pPr marL="571500" indent="-114300" algn="l">
            <a:defRPr sz="1400"/>
          </a:lvl6pPr>
          <a:lvl7pPr marL="685800" indent="-114300" algn="l">
            <a:defRPr sz="1400"/>
          </a:lvl7pPr>
          <a:lvl8pPr marL="800100" indent="-114300" algn="l">
            <a:defRPr sz="1400"/>
          </a:lvl8pPr>
          <a:lvl9pPr marL="914400" indent="-114300" algn="l">
            <a:defRPr sz="14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 Finalized and uploaded the job requisition template in the provisioning section of Recruitment Management (RCM).</a:t>
          </a:r>
          <a:endParaRPr lang="en-IN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 Completed and uploaded the offer details template in the provisioning section of Recruitment Management (RCM)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 Finalized and uploaded the candidate profile template in the provisioning section of Recruitment Management (RCM)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 Completed and uploaded the Application template in the provisioning section of Recruitment Management (RCM)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Developed the route map based on customer specifications.</a:t>
          </a:r>
          <a:endParaRPr>
            <a:solidFill>
              <a:schemeClr val="dk1"/>
            </a:solidFill>
          </a:endParaRPr>
        </a:p>
      </dsp:txBody>
      <dsp:txXfrm>
        <a:off x="0" y="548521"/>
        <a:ext cx="3205976" cy="4174490"/>
      </dsp:txXfrm>
    </dsp:sp>
    <dsp:sp modelId="{9830A9CF-36CC-4B99-916E-AA8C51BAFFC7}">
      <dsp:nvSpPr>
        <dsp:cNvPr id="5" name="Rectangles 4"/>
        <dsp:cNvSpPr/>
      </dsp:nvSpPr>
      <dsp:spPr bwMode="white">
        <a:xfrm>
          <a:off x="3654812" y="145321"/>
          <a:ext cx="3205976" cy="40320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99568" tIns="56896" rIns="99568" bIns="56896" anchor="ctr"/>
        <a:lstStyle>
          <a:lvl1pPr algn="ctr">
            <a:defRPr sz="14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b="1"/>
            <a:t>This Week:</a:t>
          </a:r>
          <a:endParaRPr lang="en-IN"/>
        </a:p>
      </dsp:txBody>
      <dsp:txXfrm>
        <a:off x="3654812" y="145321"/>
        <a:ext cx="3205976" cy="403200"/>
      </dsp:txXfrm>
    </dsp:sp>
    <dsp:sp modelId="{3E252A2B-0D36-46A3-A66A-C1F4E2709A07}">
      <dsp:nvSpPr>
        <dsp:cNvPr id="6" name="Rectangles 5"/>
        <dsp:cNvSpPr/>
      </dsp:nvSpPr>
      <dsp:spPr bwMode="white">
        <a:xfrm>
          <a:off x="3654812" y="548521"/>
          <a:ext cx="3205976" cy="417449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74676" tIns="74676" rIns="99568" bIns="112014" anchor="t"/>
        <a:lstStyle>
          <a:lvl1pPr algn="l">
            <a:defRPr sz="1400"/>
          </a:lvl1pPr>
          <a:lvl2pPr marL="114300" indent="-114300" algn="l">
            <a:defRPr sz="1400"/>
          </a:lvl2pPr>
          <a:lvl3pPr marL="228600" indent="-114300" algn="l">
            <a:defRPr sz="1400"/>
          </a:lvl3pPr>
          <a:lvl4pPr marL="342900" indent="-114300" algn="l">
            <a:defRPr sz="1400"/>
          </a:lvl4pPr>
          <a:lvl5pPr marL="457200" indent="-114300" algn="l">
            <a:defRPr sz="1400"/>
          </a:lvl5pPr>
          <a:lvl6pPr marL="571500" indent="-114300" algn="l">
            <a:defRPr sz="1400"/>
          </a:lvl6pPr>
          <a:lvl7pPr marL="685800" indent="-114300" algn="l">
            <a:defRPr sz="1400"/>
          </a:lvl7pPr>
          <a:lvl8pPr marL="800100" indent="-114300" algn="l">
            <a:defRPr sz="1400"/>
          </a:lvl8pPr>
          <a:lvl9pPr marL="914400" indent="-114300" algn="l">
            <a:defRPr sz="14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Configured recruiting settings.</a:t>
          </a:r>
          <a:endParaRPr lang="en-IN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Set up recruiting team settings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Configured the form template settings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Created the rating scale according to customer requirements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Set up position management settings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Integrated positions with requisitions.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dirty="0">
            <a:solidFill>
              <a:schemeClr val="dk1"/>
            </a:solidFill>
          </a:endParaRPr>
        </a:p>
      </dsp:txBody>
      <dsp:txXfrm>
        <a:off x="3654812" y="548521"/>
        <a:ext cx="3205976" cy="4174490"/>
      </dsp:txXfrm>
    </dsp:sp>
    <dsp:sp modelId="{2158D254-E139-46C0-B7E1-E01A8E4F73F7}">
      <dsp:nvSpPr>
        <dsp:cNvPr id="7" name="Rectangles 6"/>
        <dsp:cNvSpPr/>
      </dsp:nvSpPr>
      <dsp:spPr bwMode="white">
        <a:xfrm>
          <a:off x="7309624" y="145321"/>
          <a:ext cx="3205976" cy="403200"/>
        </a:xfrm>
        <a:prstGeom prst="rect">
          <a:avLst/>
        </a:prstGeom>
      </dsp:spPr>
      <dsp:style>
        <a:lnRef idx="2">
          <a:schemeClr val="accen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lIns="99568" tIns="56896" rIns="99568" bIns="56896" anchor="ctr"/>
        <a:lstStyle>
          <a:lvl1pPr algn="ctr">
            <a:defRPr sz="1400"/>
          </a:lvl1pPr>
          <a:lvl2pPr marL="57150" indent="-57150" algn="ctr">
            <a:defRPr sz="1000"/>
          </a:lvl2pPr>
          <a:lvl3pPr marL="114300" indent="-57150" algn="ctr">
            <a:defRPr sz="1000"/>
          </a:lvl3pPr>
          <a:lvl4pPr marL="171450" indent="-57150" algn="ctr">
            <a:defRPr sz="1000"/>
          </a:lvl4pPr>
          <a:lvl5pPr marL="228600" indent="-57150" algn="ctr">
            <a:defRPr sz="1000"/>
          </a:lvl5pPr>
          <a:lvl6pPr marL="285750" indent="-57150" algn="ctr">
            <a:defRPr sz="1000"/>
          </a:lvl6pPr>
          <a:lvl7pPr marL="342900" indent="-57150" algn="ctr">
            <a:defRPr sz="1000"/>
          </a:lvl7pPr>
          <a:lvl8pPr marL="400050" indent="-57150" algn="ctr">
            <a:defRPr sz="1000"/>
          </a:lvl8pPr>
          <a:lvl9pPr marL="457200" indent="-57150" algn="ctr">
            <a:defRPr sz="1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IN" b="1"/>
            <a:t>Planned activities for next week.</a:t>
          </a:r>
          <a:endParaRPr lang="en-IN"/>
        </a:p>
      </dsp:txBody>
      <dsp:txXfrm>
        <a:off x="7309624" y="145321"/>
        <a:ext cx="3205976" cy="403200"/>
      </dsp:txXfrm>
    </dsp:sp>
    <dsp:sp modelId="{895BCE50-89C3-4D30-8961-E08C3676F841}">
      <dsp:nvSpPr>
        <dsp:cNvPr id="8" name="Rectangles 7"/>
        <dsp:cNvSpPr/>
      </dsp:nvSpPr>
      <dsp:spPr bwMode="white">
        <a:xfrm>
          <a:off x="7309624" y="548521"/>
          <a:ext cx="3205976" cy="4174490"/>
        </a:xfrm>
        <a:prstGeom prst="rect">
          <a:avLst/>
        </a:prstGeom>
      </dsp:spPr>
      <dsp:style>
        <a:lnRef idx="2">
          <a:schemeClr val="accent1">
            <a:alpha val="90000"/>
            <a:tint val="40000"/>
          </a:schemeClr>
        </a:lnRef>
        <a:fillRef idx="1">
          <a:schemeClr val="accent1">
            <a:alpha val="90000"/>
            <a:tint val="40000"/>
          </a:schemeClr>
        </a:fillRef>
        <a:effectRef idx="0">
          <a:scrgbClr r="0" g="0" b="0"/>
        </a:effectRef>
        <a:fontRef idx="minor"/>
      </dsp:style>
      <dsp:txBody>
        <a:bodyPr lIns="74676" tIns="74676" rIns="99568" bIns="112014" anchor="t"/>
        <a:lstStyle>
          <a:lvl1pPr algn="l">
            <a:defRPr sz="1400"/>
          </a:lvl1pPr>
          <a:lvl2pPr marL="114300" indent="-114300" algn="l">
            <a:defRPr sz="1400"/>
          </a:lvl2pPr>
          <a:lvl3pPr marL="228600" indent="-114300" algn="l">
            <a:defRPr sz="1400"/>
          </a:lvl3pPr>
          <a:lvl4pPr marL="342900" indent="-114300" algn="l">
            <a:defRPr sz="1400"/>
          </a:lvl4pPr>
          <a:lvl5pPr marL="457200" indent="-114300" algn="l">
            <a:defRPr sz="1400"/>
          </a:lvl5pPr>
          <a:lvl6pPr marL="571500" indent="-114300" algn="l">
            <a:defRPr sz="1400"/>
          </a:lvl6pPr>
          <a:lvl7pPr marL="685800" indent="-114300" algn="l">
            <a:defRPr sz="1400"/>
          </a:lvl7pPr>
          <a:lvl8pPr marL="800100" indent="-114300" algn="l">
            <a:defRPr sz="1400"/>
          </a:lvl8pPr>
          <a:lvl9pPr marL="914400" indent="-114300" algn="l">
            <a:defRPr sz="1400"/>
          </a:lvl9pPr>
        </a:lstStyle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Application Field labels</a:t>
          </a:r>
          <a:endParaRPr lang="en-IN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Recruiting email triggers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Offer Letter Template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Manage email templates</a:t>
          </a:r>
          <a:endParaRPr lang="en-US" dirty="0">
            <a:solidFill>
              <a:schemeClr val="dk1"/>
            </a:solidFill>
          </a:endParaRPr>
        </a:p>
        <a:p>
          <a:pPr lvl="1" rtl="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dirty="0">
              <a:solidFill>
                <a:schemeClr val="dk1"/>
              </a:solidFill>
            </a:rPr>
            <a:t>Job </a:t>
          </a:r>
          <a:r>
            <a:rPr lang="en-US" dirty="0" err="1">
              <a:solidFill>
                <a:schemeClr val="dk1"/>
              </a:solidFill>
            </a:rPr>
            <a:t>req</a:t>
          </a:r>
          <a:r>
            <a:rPr lang="en-US" dirty="0">
              <a:solidFill>
                <a:schemeClr val="dk1"/>
              </a:solidFill>
            </a:rPr>
            <a:t> field labels</a:t>
          </a:r>
          <a:endParaRPr>
            <a:solidFill>
              <a:schemeClr val="dk1"/>
            </a:solidFill>
          </a:endParaRPr>
        </a:p>
      </dsp:txBody>
      <dsp:txXfrm>
        <a:off x="7309624" y="548521"/>
        <a:ext cx="3205976" cy="41744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2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483" y="92185"/>
            <a:ext cx="798773" cy="7349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5600" y="274645"/>
            <a:ext cx="36576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800" y="274645"/>
            <a:ext cx="107696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483" y="92185"/>
            <a:ext cx="798773" cy="7349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800" y="1600206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0" y="1600206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483" y="92185"/>
            <a:ext cx="798773" cy="7349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611B6-E9D1-487D-854D-7F5CAB2E20BD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7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519CF6-32B5-43BA-BB23-1B645B93856C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9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Relationship Id="rId3" Type="http://schemas.openxmlformats.org/officeDocument/2006/relationships/image" Target="../media/image4.png"/><Relationship Id="rId2" Type="http://schemas.openxmlformats.org/officeDocument/2006/relationships/image" Target="../media/image3.sv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microsoft.com/office/2007/relationships/diagramDrawing" Target="../diagrams/drawing3.xml"/><Relationship Id="rId4" Type="http://schemas.openxmlformats.org/officeDocument/2006/relationships/diagramColors" Target="../diagrams/colors3.xml"/><Relationship Id="rId3" Type="http://schemas.openxmlformats.org/officeDocument/2006/relationships/diagramQuickStyle" Target="../diagrams/quickStyle3.xml"/><Relationship Id="rId2" Type="http://schemas.openxmlformats.org/officeDocument/2006/relationships/diagramLayout" Target="../diagrams/layout3.xml"/><Relationship Id="rId1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76655" y="522732"/>
            <a:ext cx="10058400" cy="3566160"/>
          </a:xfrm>
        </p:spPr>
        <p:txBody>
          <a:bodyPr>
            <a:normAutofit/>
          </a:bodyPr>
          <a:lstStyle/>
          <a:p>
            <a:r>
              <a:rPr lang="en-GB" sz="7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CC SF IMPLEMENTATION</a:t>
            </a:r>
            <a:endParaRPr lang="en-US" sz="7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4651" y="5031353"/>
            <a:ext cx="10058400" cy="1143000"/>
          </a:xfrm>
        </p:spPr>
        <p:txBody>
          <a:bodyPr/>
          <a:lstStyle/>
          <a:p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SR Report –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/12/2024 – 2</a:t>
            </a:r>
            <a:r>
              <a:rPr lang="en-US" alt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12/2024.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1605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en-IN" dirty="0"/>
              <a:t>Agenda</a:t>
            </a:r>
            <a:br>
              <a:rPr lang="en-IN" dirty="0"/>
            </a:br>
            <a:endParaRPr lang="en-IN" dirty="0"/>
          </a:p>
        </p:txBody>
      </p:sp>
      <p:grpSp>
        <p:nvGrpSpPr>
          <p:cNvPr id="4" name="Group 3"/>
          <p:cNvGrpSpPr/>
          <p:nvPr/>
        </p:nvGrpSpPr>
        <p:grpSpPr>
          <a:xfrm>
            <a:off x="770983" y="1414604"/>
            <a:ext cx="7394961" cy="666014"/>
            <a:chOff x="2060498" y="722375"/>
            <a:chExt cx="6965109" cy="604800"/>
          </a:xfrm>
        </p:grpSpPr>
        <p:sp>
          <p:nvSpPr>
            <p:cNvPr id="5" name="Rectangle 4"/>
            <p:cNvSpPr/>
            <p:nvPr/>
          </p:nvSpPr>
          <p:spPr>
            <a:xfrm>
              <a:off x="2422386" y="722375"/>
              <a:ext cx="6603221" cy="60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noAutofit/>
            </a:bodyPr>
            <a:lstStyle/>
            <a:p>
              <a:pPr defTabSz="609600" fontAlgn="base">
                <a:spcBef>
                  <a:spcPts val="1200"/>
                </a:spcBef>
                <a:spcAft>
                  <a:spcPct val="0"/>
                </a:spcAft>
                <a:buClr>
                  <a:srgbClr val="0080B1"/>
                </a:buClr>
                <a:defRPr/>
              </a:pPr>
              <a:r>
                <a:rPr lang="tr-TR" sz="1600" b="1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Status</a:t>
              </a:r>
              <a:r>
                <a:rPr lang="tr-TR" sz="1600" b="1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Update &amp; </a:t>
              </a:r>
              <a:r>
                <a:rPr lang="tr-TR" sz="1600" b="1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Work</a:t>
              </a:r>
              <a:r>
                <a:rPr lang="tr-TR" sz="1600" b="1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</a:t>
              </a:r>
              <a:r>
                <a:rPr lang="tr-TR" sz="1600" b="1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Stream</a:t>
              </a:r>
              <a:r>
                <a:rPr lang="tr-TR" sz="1600" b="1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</a:t>
              </a:r>
              <a:r>
                <a:rPr lang="tr-TR" sz="1600" b="1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Status</a:t>
              </a:r>
              <a:endParaRPr lang="en-US" sz="1600" b="1" dirty="0">
                <a:solidFill>
                  <a:srgbClr val="000000"/>
                </a:solidFill>
                <a:ea typeface="Verdana" panose="020B0804030504040204"/>
                <a:cs typeface="Verdana" panose="020B0804030504040204"/>
                <a:sym typeface="Verdana" panose="020B0804030504040204"/>
              </a:endParaRPr>
            </a:p>
          </p:txBody>
        </p:sp>
        <p:sp>
          <p:nvSpPr>
            <p:cNvPr id="6" name="Parallelogram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102176" y="722376"/>
              <a:ext cx="668845" cy="603979"/>
            </a:xfrm>
            <a:prstGeom prst="round2Diag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  <p:sp>
          <p:nvSpPr>
            <p:cNvPr id="7" name="Parallelogram 2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60498" y="722376"/>
              <a:ext cx="668845" cy="603979"/>
            </a:xfrm>
            <a:prstGeom prst="round2DiagRect">
              <a:avLst/>
            </a:prstGeom>
            <a:solidFill>
              <a:schemeClr val="accent4"/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ea typeface="MS PGothic" pitchFamily="34" charset="-128"/>
                  <a:cs typeface="ヒラギノ角ゴ ProN W3" panose="020B0300000000000000" charset="-122"/>
                  <a:sym typeface="GillSans" panose="020B0502020104020203"/>
                </a:rPr>
                <a:t>1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70983" y="2256446"/>
            <a:ext cx="7383709" cy="666014"/>
            <a:chOff x="2071096" y="1766642"/>
            <a:chExt cx="6954511" cy="604800"/>
          </a:xfrm>
        </p:grpSpPr>
        <p:sp>
          <p:nvSpPr>
            <p:cNvPr id="9" name="Rectangle 8"/>
            <p:cNvSpPr/>
            <p:nvPr/>
          </p:nvSpPr>
          <p:spPr>
            <a:xfrm>
              <a:off x="2422386" y="1766642"/>
              <a:ext cx="6603221" cy="60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noAutofit/>
            </a:bodyPr>
            <a:lstStyle/>
            <a:p>
              <a:pPr defTabSz="609600" fontAlgn="base">
                <a:spcBef>
                  <a:spcPts val="1200"/>
                </a:spcBef>
                <a:spcAft>
                  <a:spcPct val="0"/>
                </a:spcAft>
                <a:buClr>
                  <a:srgbClr val="0080B1"/>
                </a:buClr>
                <a:defRPr/>
              </a:pPr>
              <a:r>
                <a:rPr lang="tr-TR" sz="1600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Activities</a:t>
              </a:r>
              <a:r>
                <a:rPr lang="en-US" sz="1600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Completed</a:t>
              </a:r>
              <a:r>
                <a:rPr lang="tr-TR" sz="1600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</a:t>
              </a:r>
              <a:endParaRPr lang="en-US" sz="1600" dirty="0">
                <a:solidFill>
                  <a:srgbClr val="000000"/>
                </a:solidFill>
                <a:ea typeface="Verdana" panose="020B0804030504040204"/>
                <a:cs typeface="Verdana" panose="020B0804030504040204"/>
                <a:sym typeface="Verdana" panose="020B0804030504040204"/>
              </a:endParaRPr>
            </a:p>
          </p:txBody>
        </p:sp>
        <p:sp>
          <p:nvSpPr>
            <p:cNvPr id="10" name="Parallelogram 2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112774" y="1766642"/>
              <a:ext cx="668845" cy="604800"/>
            </a:xfrm>
            <a:prstGeom prst="round2DiagRect">
              <a:avLst/>
            </a:prstGeom>
            <a:solidFill>
              <a:schemeClr val="bg2">
                <a:lumMod val="40000"/>
                <a:lumOff val="60000"/>
              </a:schemeClr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  <p:sp>
          <p:nvSpPr>
            <p:cNvPr id="11" name="Parallelogram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71096" y="1766642"/>
              <a:ext cx="668845" cy="604800"/>
            </a:xfrm>
            <a:prstGeom prst="round2DiagRect">
              <a:avLst/>
            </a:prstGeom>
            <a:solidFill>
              <a:schemeClr val="bg2"/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ea typeface="MS PGothic" pitchFamily="34" charset="-128"/>
                  <a:cs typeface="ヒラギノ角ゴ ProN W3" panose="020B0300000000000000" charset="-122"/>
                  <a:sym typeface="GillSans" panose="020B0502020104020203"/>
                </a:rPr>
                <a:t>2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70983" y="3120217"/>
            <a:ext cx="7383709" cy="666014"/>
            <a:chOff x="2071096" y="1766642"/>
            <a:chExt cx="6954511" cy="604800"/>
          </a:xfrm>
        </p:grpSpPr>
        <p:sp>
          <p:nvSpPr>
            <p:cNvPr id="13" name="Rectangle 12"/>
            <p:cNvSpPr/>
            <p:nvPr/>
          </p:nvSpPr>
          <p:spPr>
            <a:xfrm>
              <a:off x="2422386" y="1766642"/>
              <a:ext cx="6603221" cy="604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800000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  <a:noAutofit/>
            </a:bodyPr>
            <a:lstStyle/>
            <a:p>
              <a:pPr defTabSz="609600" fontAlgn="base">
                <a:spcBef>
                  <a:spcPts val="1200"/>
                </a:spcBef>
                <a:spcAft>
                  <a:spcPct val="0"/>
                </a:spcAft>
                <a:buClr>
                  <a:srgbClr val="0080B1"/>
                </a:buClr>
                <a:defRPr/>
              </a:pPr>
              <a:r>
                <a:rPr lang="tr-TR" sz="1600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Activities</a:t>
              </a:r>
              <a:r>
                <a:rPr lang="en-US" sz="1600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</a:t>
              </a:r>
              <a:r>
                <a:rPr lang="tr-TR" sz="1600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In</a:t>
              </a:r>
              <a:r>
                <a:rPr lang="tr-TR" sz="1600" dirty="0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 </a:t>
              </a:r>
              <a:r>
                <a:rPr lang="tr-TR" sz="1600" dirty="0" err="1">
                  <a:solidFill>
                    <a:srgbClr val="000000"/>
                  </a:solidFill>
                  <a:ea typeface="Verdana" panose="020B0804030504040204"/>
                  <a:cs typeface="Verdana" panose="020B0804030504040204"/>
                  <a:sym typeface="Verdana" panose="020B0804030504040204"/>
                </a:rPr>
                <a:t>Progress</a:t>
              </a:r>
              <a:endParaRPr lang="en-US" sz="1600" dirty="0">
                <a:solidFill>
                  <a:srgbClr val="000000"/>
                </a:solidFill>
                <a:ea typeface="Verdana" panose="020B0804030504040204"/>
                <a:cs typeface="Verdana" panose="020B0804030504040204"/>
                <a:sym typeface="Verdana" panose="020B0804030504040204"/>
              </a:endParaRPr>
            </a:p>
          </p:txBody>
        </p:sp>
        <p:sp>
          <p:nvSpPr>
            <p:cNvPr id="14" name="Parallelogram 2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12774" y="1766642"/>
              <a:ext cx="668845" cy="604800"/>
            </a:xfrm>
            <a:prstGeom prst="round2Diag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  <p:sp>
          <p:nvSpPr>
            <p:cNvPr id="15" name="Parallelogram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71096" y="1766642"/>
              <a:ext cx="668845" cy="604800"/>
            </a:xfrm>
            <a:prstGeom prst="round2DiagRect">
              <a:avLst/>
            </a:prstGeom>
            <a:solidFill>
              <a:srgbClr val="FF9933"/>
            </a:solidFill>
            <a:ln w="25400" algn="ctr">
              <a:noFill/>
              <a:miter lim="800000"/>
            </a:ln>
            <a:effectLst/>
          </p:spPr>
          <p:txBody>
            <a:bodyPr lIns="290203" tIns="145102" rIns="290203" bIns="145102" anchor="ctr"/>
            <a:lstStyle/>
            <a:p>
              <a:pPr marL="0" marR="0" lvl="0" indent="0" algn="ctr" defTabSz="1449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tr-T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ea typeface="MS PGothic" pitchFamily="34" charset="-128"/>
                  <a:cs typeface="ヒラギノ角ゴ ProN W3" panose="020B0300000000000000" charset="-122"/>
                  <a:sym typeface="GillSans" panose="020B0502020104020203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MS PGothic" pitchFamily="34" charset="-128"/>
                <a:cs typeface="ヒラギノ角ゴ ProN W3" panose="020B0300000000000000" charset="-122"/>
                <a:sym typeface="GillSans" panose="020B0502020104020203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 algn="l"/>
            <a:r>
              <a:rPr lang="en-GB" sz="3200" dirty="0"/>
              <a:t>Project status summary – Phase</a:t>
            </a:r>
            <a:r>
              <a:rPr lang="en-US" altLang="en-GB" sz="3200" dirty="0"/>
              <a:t> Wise</a:t>
            </a:r>
            <a:endParaRPr lang="en-US" altLang="en-GB" sz="3200" dirty="0"/>
          </a:p>
        </p:txBody>
      </p:sp>
      <p:sp>
        <p:nvSpPr>
          <p:cNvPr id="67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</p:spPr>
        <p:txBody>
          <a:bodyPr/>
          <a:lstStyle/>
          <a:p>
            <a:fld id="{18187370-7E2C-41F1-A6F7-919DEE06C021}" type="datetime1">
              <a:rPr lang="tr-TR" sz="1400" smtClean="0"/>
            </a:fld>
            <a:endParaRPr lang="tr-TR" sz="1400"/>
          </a:p>
        </p:txBody>
      </p:sp>
      <p:sp>
        <p:nvSpPr>
          <p:cNvPr id="77" name="TextBox 76"/>
          <p:cNvSpPr txBox="1"/>
          <p:nvPr/>
        </p:nvSpPr>
        <p:spPr>
          <a:xfrm>
            <a:off x="2065" y="1324813"/>
            <a:ext cx="2232247" cy="403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tr-TR" sz="1400" b="1" dirty="0">
                <a:latin typeface="Arial" panose="020B0604020202090204" pitchFamily="34" charset="0"/>
                <a:cs typeface="Arial" panose="020B0604020202090204" pitchFamily="34" charset="0"/>
              </a:rPr>
              <a:t>Project Phases</a:t>
            </a:r>
            <a:endParaRPr lang="tr-TR" sz="14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377419" y="1277085"/>
            <a:ext cx="2232247" cy="403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tr-TR" sz="1400" b="1" dirty="0">
                <a:latin typeface="Arial" panose="020B0604020202090204" pitchFamily="34" charset="0"/>
                <a:cs typeface="Arial" panose="020B0604020202090204" pitchFamily="34" charset="0"/>
              </a:rPr>
              <a:t>Deliverables</a:t>
            </a:r>
            <a:endParaRPr lang="tr-TR" sz="14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837255" y="1333612"/>
            <a:ext cx="2232247" cy="403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tr-TR" sz="1400" b="1" dirty="0">
                <a:latin typeface="Arial" panose="020B0604020202090204" pitchFamily="34" charset="0"/>
                <a:cs typeface="Arial" panose="020B0604020202090204" pitchFamily="34" charset="0"/>
              </a:rPr>
              <a:t>Remarks</a:t>
            </a:r>
            <a:endParaRPr lang="tr-TR" sz="14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>
            <a:off x="270466" y="2908673"/>
            <a:ext cx="11621991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273467" y="2088216"/>
            <a:ext cx="2304256" cy="508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tr-TR" sz="1400" b="1">
                <a:latin typeface="Arial" panose="020B0604020202090204" pitchFamily="34" charset="0"/>
                <a:cs typeface="Arial" panose="020B0604020202090204" pitchFamily="34" charset="0"/>
              </a:rPr>
              <a:t>Prepare</a:t>
            </a:r>
            <a:endParaRPr lang="tr-TR" sz="1400" b="1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837586" y="1918098"/>
            <a:ext cx="6079969" cy="93706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IN" sz="1400" dirty="0">
                <a:latin typeface="Arial" panose="020B0604020202090204" pitchFamily="34" charset="0"/>
                <a:cs typeface="Arial" panose="020B0604020202090204" pitchFamily="34" charset="0"/>
              </a:rPr>
              <a:t>Requirement Gathering Sessions.</a:t>
            </a:r>
            <a:endParaRPr lang="en-IN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IN" sz="1400" dirty="0">
                <a:latin typeface="Arial" panose="020B0604020202090204" pitchFamily="34" charset="0"/>
                <a:cs typeface="Arial" panose="020B0604020202090204" pitchFamily="34" charset="0"/>
              </a:rPr>
              <a:t>Workbook review</a:t>
            </a:r>
            <a:endParaRPr lang="en-IN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IN" sz="1400" dirty="0">
                <a:latin typeface="Arial" panose="020B0604020202090204" pitchFamily="34" charset="0"/>
                <a:cs typeface="Arial" panose="020B0604020202090204" pitchFamily="34" charset="0"/>
              </a:rPr>
              <a:t>Workbook Share with HCC.</a:t>
            </a:r>
            <a:endParaRPr lang="en-IN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US" sz="1400" dirty="0">
                <a:solidFill>
                  <a:srgbClr val="404040"/>
                </a:solidFill>
                <a:ea typeface="+mn-lt"/>
                <a:cs typeface="+mn-lt"/>
                <a:sym typeface="+mn-ea"/>
              </a:rPr>
              <a:t>Project Plan Review &amp; Signoff</a:t>
            </a:r>
            <a:endParaRPr lang="en-IN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endParaRPr lang="tr-TR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algn="l"/>
            <a:endParaRPr lang="tr-TR" sz="1400" dirty="0">
              <a:latin typeface="Arial" panose="020B0604020202090204"/>
              <a:cs typeface="Arial" panose="020B0604020202090204"/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8407400" y="163646"/>
            <a:ext cx="2554398" cy="885604"/>
            <a:chOff x="9223864" y="161720"/>
            <a:chExt cx="2554398" cy="885604"/>
          </a:xfrm>
        </p:grpSpPr>
        <p:pic>
          <p:nvPicPr>
            <p:cNvPr id="84" name="Graphic 43" descr="Checklist outline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9312365" y="161720"/>
              <a:ext cx="528051" cy="528051"/>
            </a:xfrm>
            <a:prstGeom prst="rect">
              <a:avLst/>
            </a:prstGeom>
          </p:spPr>
        </p:pic>
        <p:pic>
          <p:nvPicPr>
            <p:cNvPr id="85" name="Graphic 49" descr="Hourglass 60% with solid fill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93157" y="165475"/>
              <a:ext cx="528051" cy="528051"/>
            </a:xfrm>
            <a:prstGeom prst="rect">
              <a:avLst/>
            </a:prstGeom>
          </p:spPr>
        </p:pic>
        <p:pic>
          <p:nvPicPr>
            <p:cNvPr id="86" name="Graphic 50" descr="Checkmark with solid fill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84573" y="165308"/>
              <a:ext cx="528051" cy="528051"/>
            </a:xfrm>
            <a:prstGeom prst="rect">
              <a:avLst/>
            </a:prstGeom>
          </p:spPr>
        </p:pic>
        <p:sp>
          <p:nvSpPr>
            <p:cNvPr id="87" name="TextBox 86"/>
            <p:cNvSpPr txBox="1"/>
            <p:nvPr/>
          </p:nvSpPr>
          <p:spPr>
            <a:xfrm>
              <a:off x="9223864" y="670744"/>
              <a:ext cx="914400" cy="37658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tr-TR" sz="1400">
                  <a:latin typeface="Arial" panose="020B0604020202090204" pitchFamily="34" charset="0"/>
                  <a:cs typeface="Arial" panose="020B0604020202090204" pitchFamily="34" charset="0"/>
                </a:rPr>
                <a:t>To Do</a:t>
              </a:r>
              <a:endParaRPr lang="tr-TR" sz="140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9815263" y="665423"/>
              <a:ext cx="914400" cy="37658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tr-TR" sz="1400">
                  <a:latin typeface="Arial" panose="020B0604020202090204" pitchFamily="34" charset="0"/>
                  <a:cs typeface="Arial" panose="020B0604020202090204" pitchFamily="34" charset="0"/>
                </a:rPr>
                <a:t>In Progress</a:t>
              </a:r>
              <a:endParaRPr lang="tr-TR" sz="140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10863862" y="656114"/>
              <a:ext cx="914400" cy="37658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l"/>
              <a:r>
                <a:rPr lang="tr-TR" sz="1400">
                  <a:latin typeface="Arial" panose="020B0604020202090204" pitchFamily="34" charset="0"/>
                  <a:cs typeface="Arial" panose="020B0604020202090204" pitchFamily="34" charset="0"/>
                </a:rPr>
                <a:t>Completed</a:t>
              </a:r>
              <a:endParaRPr lang="tr-TR" sz="1400">
                <a:latin typeface="Arial" panose="020B0604020202090204" pitchFamily="34" charset="0"/>
                <a:cs typeface="Arial" panose="020B0604020202090204" pitchFamily="34" charset="0"/>
              </a:endParaRPr>
            </a:p>
          </p:txBody>
        </p:sp>
      </p:grpSp>
      <p:sp>
        <p:nvSpPr>
          <p:cNvPr id="91" name="TextBox 90"/>
          <p:cNvSpPr txBox="1"/>
          <p:nvPr/>
        </p:nvSpPr>
        <p:spPr>
          <a:xfrm>
            <a:off x="481736" y="3207116"/>
            <a:ext cx="2304256" cy="508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tr-TR" sz="1400" b="1" dirty="0">
                <a:latin typeface="Arial" panose="020B0604020202090204" pitchFamily="34" charset="0"/>
                <a:cs typeface="Arial" panose="020B0604020202090204" pitchFamily="34" charset="0"/>
              </a:rPr>
              <a:t>Explore</a:t>
            </a:r>
            <a:endParaRPr lang="tr-TR" sz="14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788866" y="2946712"/>
            <a:ext cx="5786465" cy="7175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algn="l"/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/>
                <a:cs typeface="Arial" panose="020B0604020202090204"/>
              </a:rPr>
              <a:t>EC , PMGM and RCM Workshop session</a:t>
            </a:r>
            <a:endParaRPr lang="en-US" sz="1400" dirty="0">
              <a:latin typeface="Arial" panose="020B0604020202090204"/>
              <a:cs typeface="Arial" panose="020B0604020202090204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</a:rPr>
              <a:t>PMGM and RCM workbook sign off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/>
                <a:cs typeface="Arial" panose="020B0604020202090204"/>
                <a:sym typeface="+mn-ea"/>
              </a:rPr>
              <a:t>Leave policy finalized by HCC Team</a:t>
            </a:r>
            <a:endParaRPr lang="en-US" sz="1400" dirty="0">
              <a:latin typeface="Arial" panose="020B0604020202090204"/>
              <a:cs typeface="Arial" panose="020B0604020202090204"/>
              <a:sym typeface="+mn-ea"/>
            </a:endParaRPr>
          </a:p>
          <a:p>
            <a:pPr marL="285750" indent="-285750" algn="l"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  <a:sym typeface="+mn-ea"/>
              </a:rPr>
              <a:t>Workbook sign off is in progress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8081645" y="2858770"/>
            <a:ext cx="3923030" cy="131508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indent="0" algn="l">
              <a:lnSpc>
                <a:spcPct val="150000"/>
              </a:lnSpc>
              <a:buFont typeface="Arial" panose="020B0604020202090204" pitchFamily="34" charset="0"/>
              <a:buNone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</a:rPr>
              <a:t>.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168275" indent="-168275" algn="l">
              <a:lnSpc>
                <a:spcPct val="150000"/>
              </a:lnSpc>
              <a:buFont typeface="Arial" panose="020B0604020202090204" pitchFamily="34" charset="0"/>
              <a:buChar char="•"/>
            </a:pP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>
              <a:lnSpc>
                <a:spcPct val="150000"/>
              </a:lnSpc>
            </a:pPr>
            <a:endParaRPr lang="tr-TR" sz="1400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94" name="Graphic 6" descr="Checkmark with solid fil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99020" y="2021055"/>
            <a:ext cx="528051" cy="528051"/>
          </a:xfrm>
          <a:prstGeom prst="rect">
            <a:avLst/>
          </a:prstGeom>
        </p:spPr>
      </p:pic>
      <p:cxnSp>
        <p:nvCxnSpPr>
          <p:cNvPr id="95" name="Straight Connector 94"/>
          <p:cNvCxnSpPr/>
          <p:nvPr/>
        </p:nvCxnSpPr>
        <p:spPr>
          <a:xfrm>
            <a:off x="8106362" y="2755709"/>
            <a:ext cx="0" cy="261175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119335" y="4142146"/>
            <a:ext cx="11621991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270424" y="5705140"/>
            <a:ext cx="2304256" cy="386376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r>
              <a:rPr lang="tr-TR" sz="1400" b="1" dirty="0" err="1">
                <a:latin typeface="Arial" panose="020B0604020202090204"/>
                <a:cs typeface="Arial" panose="020B0604020202090204"/>
              </a:rPr>
              <a:t>Decision</a:t>
            </a:r>
            <a:r>
              <a:rPr lang="tr-TR" sz="1400" b="1" dirty="0">
                <a:latin typeface="Arial" panose="020B0604020202090204"/>
                <a:cs typeface="Arial" panose="020B0604020202090204"/>
              </a:rPr>
              <a:t> </a:t>
            </a:r>
            <a:r>
              <a:rPr lang="tr-TR" sz="1400" b="1" dirty="0" err="1">
                <a:latin typeface="Arial" panose="020B0604020202090204"/>
                <a:cs typeface="Arial" panose="020B0604020202090204"/>
              </a:rPr>
              <a:t>taken</a:t>
            </a:r>
            <a:endParaRPr lang="tr-TR" sz="1400" b="1" dirty="0" err="1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666105" y="5537200"/>
            <a:ext cx="5915660" cy="89916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marL="168275" indent="-168275" algn="l">
              <a:buFont typeface="Arial" panose="020B0604020202090204" pitchFamily="34" charset="0"/>
              <a:buChar char="•"/>
            </a:pP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indent="0">
              <a:buFont typeface="Arial,Sans-Serif" panose="020B0604020202020204" pitchFamily="34" charset="0"/>
              <a:buNone/>
            </a:pPr>
            <a:endParaRPr lang="en-US" sz="1400" dirty="0">
              <a:solidFill>
                <a:srgbClr val="404040"/>
              </a:solidFill>
              <a:latin typeface="Arial" panose="020B0604020202090204"/>
              <a:cs typeface="Arial" panose="020B0604020202090204"/>
            </a:endParaRPr>
          </a:p>
          <a:p>
            <a:pPr marL="168275" indent="-168275"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rgbClr val="404040"/>
                </a:solidFill>
                <a:latin typeface="Arial" panose="020B0604020202090204"/>
                <a:cs typeface="Arial" panose="020B0604020202090204"/>
              </a:rPr>
              <a:t>Time Sheet will not be part of Implementation confirmed by HCC Team. </a:t>
            </a:r>
            <a:endParaRPr lang="en-US" sz="1400" dirty="0">
              <a:solidFill>
                <a:srgbClr val="404040"/>
              </a:solidFill>
              <a:latin typeface="Arial" panose="020B0604020202090204"/>
              <a:cs typeface="Arial" panose="020B0604020202090204"/>
            </a:endParaRPr>
          </a:p>
          <a:p>
            <a:endParaRPr lang="en-US" sz="1400" dirty="0">
              <a:solidFill>
                <a:srgbClr val="404040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168275" indent="-168275">
              <a:buFont typeface="Arial" panose="020B0604020202090204" pitchFamily="34" charset="0"/>
              <a:buChar char="•"/>
            </a:pP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99" name="Graphic 11" descr="Hourglass 60% with solid fill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70939" y="4189655"/>
            <a:ext cx="440172" cy="440172"/>
          </a:xfrm>
          <a:prstGeom prst="rect">
            <a:avLst/>
          </a:prstGeom>
        </p:spPr>
      </p:pic>
      <p:pic>
        <p:nvPicPr>
          <p:cNvPr id="100" name="Graphic 6" descr="Checkmark with solid fil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88556" y="3208028"/>
            <a:ext cx="528051" cy="528051"/>
          </a:xfrm>
          <a:prstGeom prst="rect">
            <a:avLst/>
          </a:prstGeom>
        </p:spPr>
      </p:pic>
      <p:sp>
        <p:nvSpPr>
          <p:cNvPr id="2" name="TextBox 90"/>
          <p:cNvSpPr txBox="1"/>
          <p:nvPr/>
        </p:nvSpPr>
        <p:spPr>
          <a:xfrm>
            <a:off x="481330" y="4455795"/>
            <a:ext cx="1111250" cy="508000"/>
          </a:xfrm>
          <a:prstGeom prst="rect">
            <a:avLst/>
          </a:prstGeom>
          <a:noFill/>
        </p:spPr>
        <p:txBody>
          <a:bodyPr wrap="none" rtlCol="0">
            <a:noAutofit/>
          </a:bodyPr>
          <a:p>
            <a:pPr algn="l"/>
            <a:r>
              <a:rPr lang="en-US" altLang="tr-TR" sz="1400" b="1" dirty="0">
                <a:latin typeface="Arial" panose="020B0604020202090204" pitchFamily="34" charset="0"/>
                <a:cs typeface="Arial" panose="020B0604020202090204" pitchFamily="34" charset="0"/>
              </a:rPr>
              <a:t>Realize</a:t>
            </a:r>
            <a:endParaRPr lang="en-US" altLang="tr-TR" sz="1400" b="1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" name="TextBox 91"/>
          <p:cNvSpPr txBox="1"/>
          <p:nvPr/>
        </p:nvSpPr>
        <p:spPr>
          <a:xfrm>
            <a:off x="1915866" y="4431342"/>
            <a:ext cx="5786465" cy="71757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p>
            <a:pPr algn="l"/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85750" indent="-285750"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</a:rPr>
              <a:t>PMGM Iteration 1 completed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4" name="Graphic 6" descr="Checkmark with solid fill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82206" y="4446913"/>
            <a:ext cx="528051" cy="528051"/>
          </a:xfrm>
          <a:prstGeom prst="rect">
            <a:avLst/>
          </a:prstGeom>
        </p:spPr>
      </p:pic>
      <p:sp>
        <p:nvSpPr>
          <p:cNvPr id="5" name="TextBox 92"/>
          <p:cNvSpPr txBox="1"/>
          <p:nvPr/>
        </p:nvSpPr>
        <p:spPr>
          <a:xfrm>
            <a:off x="8109585" y="4182110"/>
            <a:ext cx="3923030" cy="131508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p>
            <a:pPr marL="168275" indent="-168275" algn="l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</a:rPr>
              <a:t>EC, RCM Configuration is on track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168275" indent="-168275" algn="l">
              <a:lnSpc>
                <a:spcPct val="150000"/>
              </a:lnSpc>
              <a:buFont typeface="Arial" panose="020B0604020202090204" pitchFamily="34" charset="0"/>
              <a:buChar char="•"/>
            </a:pPr>
            <a:r>
              <a:rPr lang="en-US" sz="1400" dirty="0">
                <a:latin typeface="Arial" panose="020B0604020202090204" pitchFamily="34" charset="0"/>
                <a:cs typeface="Arial" panose="020B0604020202090204" pitchFamily="34" charset="0"/>
              </a:rPr>
              <a:t>Iteration 1 to be done in January mid week.</a:t>
            </a:r>
            <a:endParaRPr lang="en-US" sz="1400" dirty="0"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>
              <a:lnSpc>
                <a:spcPct val="150000"/>
              </a:lnSpc>
            </a:pPr>
            <a:endParaRPr lang="tr-TR" sz="1400" dirty="0"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46335" y="5452786"/>
            <a:ext cx="11621991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5975"/>
          </a:xfrm>
        </p:spPr>
        <p:txBody>
          <a:bodyPr/>
          <a:lstStyle/>
          <a:p>
            <a:r>
              <a:rPr lang="en-US" b="1" dirty="0"/>
              <a:t>EC – Status Report</a:t>
            </a:r>
            <a:endParaRPr lang="en-US" b="1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812800" y="1334988"/>
          <a:ext cx="10515600" cy="5048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9182100" y="965200"/>
            <a:ext cx="2809876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Module Status – On Track </a:t>
            </a:r>
            <a:endParaRPr lang="en-US" sz="1400" b="1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5975"/>
          </a:xfrm>
        </p:spPr>
        <p:txBody>
          <a:bodyPr/>
          <a:lstStyle/>
          <a:p>
            <a:r>
              <a:rPr lang="en-US" b="1" dirty="0"/>
              <a:t>PMGM – Status Report</a:t>
            </a:r>
            <a:endParaRPr lang="en-US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838200" y="1790701"/>
          <a:ext cx="10515600" cy="4438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9220200" y="1184275"/>
            <a:ext cx="2809876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Module Status – On Track </a:t>
            </a:r>
            <a:endParaRPr lang="en-US" sz="1400" b="1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7067" y="252412"/>
            <a:ext cx="10515600" cy="815975"/>
          </a:xfrm>
        </p:spPr>
        <p:txBody>
          <a:bodyPr/>
          <a:lstStyle/>
          <a:p>
            <a:r>
              <a:rPr lang="en-US" b="1" dirty="0"/>
              <a:t>RCM – Status Report</a:t>
            </a:r>
            <a:endParaRPr lang="en-US" b="1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211667" y="1066800"/>
          <a:ext cx="10515600" cy="4868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853362" y="660400"/>
            <a:ext cx="2809876" cy="30777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/>
              <a:t>Module Status – On Track</a:t>
            </a:r>
            <a:endParaRPr lang="en-US" sz="1400" b="1" dirty="0"/>
          </a:p>
        </p:txBody>
      </p:sp>
      <p:sp>
        <p:nvSpPr>
          <p:cNvPr id="5" name="Text Box 4"/>
          <p:cNvSpPr txBox="1"/>
          <p:nvPr/>
        </p:nvSpPr>
        <p:spPr>
          <a:xfrm>
            <a:off x="4764405" y="4957445"/>
            <a:ext cx="40640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4093"/>
            <a:ext cx="10027920" cy="548640"/>
          </a:xfrm>
        </p:spPr>
        <p:txBody>
          <a:bodyPr>
            <a:normAutofit fontScale="90000"/>
          </a:bodyPr>
          <a:lstStyle/>
          <a:p>
            <a:r>
              <a:rPr lang="en-IN" b="1" dirty="0"/>
              <a:t>Overall Progress.</a:t>
            </a:r>
            <a:endParaRPr lang="en-IN" b="1" dirty="0"/>
          </a:p>
        </p:txBody>
      </p:sp>
      <p:graphicFrame>
        <p:nvGraphicFramePr>
          <p:cNvPr id="17" name="Content Placeholder 16"/>
          <p:cNvGraphicFramePr>
            <a:graphicFrameLocks noGrp="1"/>
          </p:cNvGraphicFramePr>
          <p:nvPr>
            <p:ph idx="1"/>
          </p:nvPr>
        </p:nvGraphicFramePr>
        <p:xfrm>
          <a:off x="199498" y="897467"/>
          <a:ext cx="11907834" cy="3291129"/>
        </p:xfrm>
        <a:graphic>
          <a:graphicData uri="http://schemas.openxmlformats.org/drawingml/2006/table">
            <a:tbl>
              <a:tblPr/>
              <a:tblGrid>
                <a:gridCol w="860807"/>
                <a:gridCol w="1004276"/>
                <a:gridCol w="932541"/>
                <a:gridCol w="1147742"/>
                <a:gridCol w="932541"/>
                <a:gridCol w="860807"/>
                <a:gridCol w="932541"/>
                <a:gridCol w="1004276"/>
                <a:gridCol w="860807"/>
                <a:gridCol w="1004276"/>
                <a:gridCol w="835010"/>
                <a:gridCol w="1532210"/>
              </a:tblGrid>
              <a:tr h="1013103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Prepare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7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Nov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  / 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3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Oct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3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tr-TR" sz="105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Explore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4</a:t>
                      </a:r>
                      <a:r>
                        <a:rPr lang="tr-TR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Nov</a:t>
                      </a:r>
                      <a:r>
                        <a:rPr lang="tr-TR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4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 / 1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Dec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4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Realize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11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Dec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4</a:t>
                      </a:r>
                      <a:r>
                        <a:rPr lang="en-IN" sz="105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/ 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7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Feb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Deploy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7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Feb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/ 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6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Mar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Run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6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Mar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/  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6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Mar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755937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Kick-off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Prepa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Analyse &amp; Solution Configu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System Prepa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Business Unit Tests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Key-User Tests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UAT Test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Regression Analyse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Cut-Over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Handover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Go-Live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7661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Employee Central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  <a:ea typeface="+mn-ea"/>
                          <a:cs typeface="+mn-cs"/>
                        </a:rPr>
                        <a:t>Completed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ctr" latinLnBrk="0" hangingPunct="1">
                        <a:buNone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  <a:ea typeface="+mn-ea"/>
                          <a:cs typeface="+mn-cs"/>
                        </a:rPr>
                        <a:t>In Progress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7559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CM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  <a:ea typeface="+mn-ea"/>
                          <a:cs typeface="+mn-cs"/>
                        </a:rPr>
                        <a:t>Completed</a:t>
                      </a:r>
                      <a:endParaRPr lang="en-US" sz="10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In</a:t>
                      </a:r>
                      <a:r>
                        <a:rPr lang="en-US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 Progres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4093"/>
            <a:ext cx="10027920" cy="548640"/>
          </a:xfrm>
        </p:spPr>
        <p:txBody>
          <a:bodyPr>
            <a:normAutofit fontScale="90000"/>
          </a:bodyPr>
          <a:lstStyle/>
          <a:p>
            <a:r>
              <a:rPr lang="en-IN" b="1" dirty="0"/>
              <a:t>Overall Progress.</a:t>
            </a:r>
            <a:endParaRPr lang="en-IN" b="1" dirty="0"/>
          </a:p>
        </p:txBody>
      </p:sp>
      <p:graphicFrame>
        <p:nvGraphicFramePr>
          <p:cNvPr id="17" name="Content Placeholder 16"/>
          <p:cNvGraphicFramePr>
            <a:graphicFrameLocks noGrp="1"/>
          </p:cNvGraphicFramePr>
          <p:nvPr>
            <p:ph idx="1"/>
          </p:nvPr>
        </p:nvGraphicFramePr>
        <p:xfrm>
          <a:off x="224898" y="1312334"/>
          <a:ext cx="11907834" cy="3715224"/>
        </p:xfrm>
        <a:graphic>
          <a:graphicData uri="http://schemas.openxmlformats.org/drawingml/2006/table">
            <a:tbl>
              <a:tblPr/>
              <a:tblGrid>
                <a:gridCol w="860807"/>
                <a:gridCol w="1004276"/>
                <a:gridCol w="932541"/>
                <a:gridCol w="1147742"/>
                <a:gridCol w="932541"/>
                <a:gridCol w="860807"/>
                <a:gridCol w="932541"/>
                <a:gridCol w="1004276"/>
                <a:gridCol w="860807"/>
                <a:gridCol w="1004276"/>
                <a:gridCol w="835010"/>
                <a:gridCol w="1532210"/>
              </a:tblGrid>
              <a:tr h="1620418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Prepare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7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Nov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  / 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3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Oct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3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tr-TR" sz="105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Explore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2</a:t>
                      </a:r>
                      <a:r>
                        <a:rPr lang="tr-TR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Oct</a:t>
                      </a:r>
                      <a:r>
                        <a:rPr lang="tr-TR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1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24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 / 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31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Dec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4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gridSpan="4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Realize Phase</a:t>
                      </a:r>
                      <a:endParaRPr lang="tr-TR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1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</a:t>
                      </a:r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Jan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/ 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17</a:t>
                      </a:r>
                      <a:r>
                        <a:rPr lang="tr-TR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Jan-2</a:t>
                      </a:r>
                      <a:r>
                        <a:rPr lang="en-I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Deploy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17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Jan-24 / 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4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Feb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 pitchFamily="34" charset="0"/>
                        </a:rPr>
                        <a:t>Run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 pitchFamily="34" charset="0"/>
                      </a:endParaRPr>
                    </a:p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4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Feb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 /  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04</a:t>
                      </a:r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-Feb-2</a:t>
                      </a:r>
                      <a:r>
                        <a:rPr lang="en-IN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90204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885715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Kick-off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Prepa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Analyse &amp; Solution Configu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System Preparation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Business Unit Tests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Key-User Tests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UAT Test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Regression Analyse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Cut-Over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 pitchFamily="34" charset="0"/>
                        </a:rPr>
                        <a:t>Handover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90204"/>
                        </a:rPr>
                        <a:t>Go-Live</a:t>
                      </a:r>
                      <a:endParaRPr lang="en-US" sz="900" b="1" i="0" u="none" strike="noStrike" dirty="0">
                        <a:solidFill>
                          <a:srgbClr val="1F497D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12090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PMGM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  <a:ea typeface="+mn-ea"/>
                          <a:cs typeface="+mn-cs"/>
                        </a:rPr>
                        <a:t>Completed</a:t>
                      </a:r>
                      <a:endParaRPr lang="en-US" sz="10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Comple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In</a:t>
                      </a:r>
                      <a:r>
                        <a:rPr lang="en-US" sz="10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 Progress</a:t>
                      </a:r>
                      <a:endParaRPr lang="en-US" sz="10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90204" pitchFamily="34" charset="0"/>
                        </a:rPr>
                        <a:t>Not Start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9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anks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nLyEi_g8qUeMDRfjFXTLUw"/>
</p:tagLst>
</file>

<file path=ppt/tags/tag2.xml><?xml version="1.0" encoding="utf-8"?>
<p:tagLst xmlns:p="http://schemas.openxmlformats.org/presentationml/2006/main">
  <p:tag name="THINKCELLSHAPEDONOTDELETE" val="pnLyEi_g8qUeMDRfjFXTLUw"/>
</p:tagLst>
</file>

<file path=ppt/tags/tag3.xml><?xml version="1.0" encoding="utf-8"?>
<p:tagLst xmlns:p="http://schemas.openxmlformats.org/presentationml/2006/main">
  <p:tag name="THINKCELLSHAPEDONOTDELETE" val="pnLyEi_g8qUeMDRfjFXTLUw"/>
</p:tagLst>
</file>

<file path=ppt/tags/tag4.xml><?xml version="1.0" encoding="utf-8"?>
<p:tagLst xmlns:p="http://schemas.openxmlformats.org/presentationml/2006/main">
  <p:tag name="THINKCELLSHAPEDONOTDELETE" val="pnLyEi_g8qUeMDRfjFXTLUw"/>
</p:tagLst>
</file>

<file path=ppt/tags/tag5.xml><?xml version="1.0" encoding="utf-8"?>
<p:tagLst xmlns:p="http://schemas.openxmlformats.org/presentationml/2006/main">
  <p:tag name="THINKCELLSHAPEDONOTDELETE" val="pnLyEi_g8qUeMDRfjFXTLUw"/>
</p:tagLst>
</file>

<file path=ppt/tags/tag6.xml><?xml version="1.0" encoding="utf-8"?>
<p:tagLst xmlns:p="http://schemas.openxmlformats.org/presentationml/2006/main">
  <p:tag name="THINKCELLSHAPEDONOTDELETE" val="pnLyEi_g8qUeMDRfjFXTL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3</Words>
  <Application>WPS Writer</Application>
  <PresentationFormat>Widescreen</PresentationFormat>
  <Paragraphs>269</Paragraphs>
  <Slides>9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6" baseType="lpstr">
      <vt:lpstr>Arial</vt:lpstr>
      <vt:lpstr>SimSun</vt:lpstr>
      <vt:lpstr>Wingdings</vt:lpstr>
      <vt:lpstr>Verdana</vt:lpstr>
      <vt:lpstr>MS PGothic</vt:lpstr>
      <vt:lpstr>ヒラギノ角ゴ ProN W3</vt:lpstr>
      <vt:lpstr>GillSans</vt:lpstr>
      <vt:lpstr>冬青黑体简体中文</vt:lpstr>
      <vt:lpstr>Calibri</vt:lpstr>
      <vt:lpstr>Helvetica Neue</vt:lpstr>
      <vt:lpstr>Arial</vt:lpstr>
      <vt:lpstr>Arial,Sans-Serif</vt:lpstr>
      <vt:lpstr>Calibri</vt:lpstr>
      <vt:lpstr>Microsoft YaHei</vt:lpstr>
      <vt:lpstr>汉仪旗黑</vt:lpstr>
      <vt:lpstr>Arial Unicode MS</vt:lpstr>
      <vt:lpstr>Office Theme</vt:lpstr>
      <vt:lpstr>HCC SF IMPLEMENTATION</vt:lpstr>
      <vt:lpstr>Agenda </vt:lpstr>
      <vt:lpstr>Project status summary – Phase Wise</vt:lpstr>
      <vt:lpstr>EC – Status Report</vt:lpstr>
      <vt:lpstr>PMGM – Status Report</vt:lpstr>
      <vt:lpstr>RCM – Status Report</vt:lpstr>
      <vt:lpstr>Overall Progress.</vt:lpstr>
      <vt:lpstr>Overall Progress.</vt:lpstr>
      <vt:lpstr>Thank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C SF IMPLEMENTATION</dc:title>
  <dc:creator>Salil Mittal</dc:creator>
  <cp:lastModifiedBy>khizar saeed khan</cp:lastModifiedBy>
  <cp:revision>37</cp:revision>
  <dcterms:created xsi:type="dcterms:W3CDTF">2024-12-24T18:32:08Z</dcterms:created>
  <dcterms:modified xsi:type="dcterms:W3CDTF">2024-12-24T18:3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5D478EA31834411B7D891551A847309_13</vt:lpwstr>
  </property>
  <property fmtid="{D5CDD505-2E9C-101B-9397-08002B2CF9AE}" pid="3" name="KSOProductBuildVer">
    <vt:lpwstr>1033-6.10.2.8397</vt:lpwstr>
  </property>
</Properties>
</file>